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Override1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3"/>
  </p:sldMasterIdLst>
  <p:notesMasterIdLst>
    <p:notesMasterId r:id="rId7"/>
  </p:notesMasterIdLst>
  <p:sldIdLst>
    <p:sldId id="309" r:id="rId4"/>
    <p:sldId id="336" r:id="rId5"/>
    <p:sldId id="337" r:id="rId6"/>
  </p:sldIdLst>
  <p:sldSz cx="9906000" cy="6858000" type="A4"/>
  <p:notesSz cx="6858000" cy="9144000"/>
  <p:custDataLst>
    <p:tags r:id="rId8"/>
  </p:custDataLst>
  <p:defaultTextStyle>
    <a:defPPr>
      <a:defRPr lang="es-C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22" userDrawn="1">
          <p15:clr>
            <a:srgbClr val="A4A3A4"/>
          </p15:clr>
        </p15:guide>
        <p15:guide id="2" pos="6023" userDrawn="1">
          <p15:clr>
            <a:srgbClr val="A4A3A4"/>
          </p15:clr>
        </p15:guide>
        <p15:guide id="3" orient="horz" pos="3861" userDrawn="1">
          <p15:clr>
            <a:srgbClr val="A4A3A4"/>
          </p15:clr>
        </p15:guide>
        <p15:guide id="4" pos="21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F6FD"/>
    <a:srgbClr val="234E6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Estilo medio 2 - Énfasi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Estilo medio 2 - Énfasis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693" autoAdjust="0"/>
    <p:restoredTop sz="94660"/>
  </p:normalViewPr>
  <p:slideViewPr>
    <p:cSldViewPr snapToGrid="0">
      <p:cViewPr varScale="1">
        <p:scale>
          <a:sx n="86" d="100"/>
          <a:sy n="86" d="100"/>
        </p:scale>
        <p:origin x="1050" y="90"/>
      </p:cViewPr>
      <p:guideLst>
        <p:guide orient="horz" pos="822"/>
        <p:guide pos="6023"/>
        <p:guide orient="horz" pos="3861"/>
        <p:guide pos="21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07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5/10/relationships/revisionInfo" Target="revisionInfo.xml"/><Relationship Id="rId3" Type="http://schemas.openxmlformats.org/officeDocument/2006/relationships/slideMaster" Target="slideMasters/slideMaster1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theme" Target="theme/theme1.xml"/><Relationship Id="rId5" Type="http://schemas.openxmlformats.org/officeDocument/2006/relationships/slide" Target="slides/slide2.xml"/><Relationship Id="rId10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D:\Historico\PCC2018\20182301%20PLAN%20DE%20NECESIDADES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D:\Historico\PCC2018\20182301%20PLAN%20DE%20NECESIDADES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es-CO"/>
              <a:t>PCC - 2018 MMCOP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s-CO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es-C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FAMILIAS!$A$16:$A$19</c:f>
              <c:strCache>
                <c:ptCount val="4"/>
                <c:pt idx="0">
                  <c:v>MATERIALES</c:v>
                </c:pt>
                <c:pt idx="1">
                  <c:v>SOPORTE CORPORATIVO</c:v>
                </c:pt>
                <c:pt idx="2">
                  <c:v>OPERACIONES</c:v>
                </c:pt>
                <c:pt idx="3">
                  <c:v>GESTION DE ACTIVOS</c:v>
                </c:pt>
              </c:strCache>
            </c:strRef>
          </c:cat>
          <c:val>
            <c:numRef>
              <c:f>FAMILIAS!$B$16:$B$19</c:f>
              <c:numCache>
                <c:formatCode>_-* #,##0.0_-;\-* #,##0.0_-;_-* "-"_-;_-@_-</c:formatCode>
                <c:ptCount val="4"/>
                <c:pt idx="0">
                  <c:v>31.969298412000001</c:v>
                </c:pt>
                <c:pt idx="1">
                  <c:v>61.330926960360472</c:v>
                </c:pt>
                <c:pt idx="2">
                  <c:v>226.80734688699999</c:v>
                </c:pt>
                <c:pt idx="3">
                  <c:v>302.60923139366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87D-4090-8812-51475AEAF5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697929304"/>
        <c:axId val="697933568"/>
      </c:barChart>
      <c:catAx>
        <c:axId val="69792930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s-CO"/>
          </a:p>
        </c:txPr>
        <c:crossAx val="697933568"/>
        <c:crosses val="autoZero"/>
        <c:auto val="1"/>
        <c:lblAlgn val="ctr"/>
        <c:lblOffset val="100"/>
        <c:noMultiLvlLbl val="0"/>
      </c:catAx>
      <c:valAx>
        <c:axId val="69793356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* #,##0.0_-;\-* #,##0.0_-;_-* &quot;-&quot;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s-CO"/>
          </a:p>
        </c:txPr>
        <c:crossAx val="6979293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CO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s-CO"/>
              <a:t>CATEGORIAS EN MMCOP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CO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C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CLASIFICACION!$A$24:$A$30</c:f>
              <c:strCache>
                <c:ptCount val="7"/>
                <c:pt idx="0">
                  <c:v>INGENIERIA Y CONSTRUCCION</c:v>
                </c:pt>
                <c:pt idx="1">
                  <c:v>ENERGIA</c:v>
                </c:pt>
                <c:pt idx="2">
                  <c:v>MANTENIMIENTO</c:v>
                </c:pt>
                <c:pt idx="3">
                  <c:v>SERVICIOS_PROFESIONALES</c:v>
                </c:pt>
                <c:pt idx="4">
                  <c:v>INFORMÁTICA_Y_TELECOMUNICACIÓN</c:v>
                </c:pt>
                <c:pt idx="5">
                  <c:v>SERVICIOS_PORTUARIOS</c:v>
                </c:pt>
                <c:pt idx="6">
                  <c:v>MATERIALES E INVENTARIOS</c:v>
                </c:pt>
              </c:strCache>
            </c:strRef>
          </c:cat>
          <c:val>
            <c:numRef>
              <c:f>CLASIFICACION!$B$24:$B$30</c:f>
              <c:numCache>
                <c:formatCode>_-* #,##0.0_-;\-* #,##0.0_-;_-* "-"_-;_-@_-</c:formatCode>
                <c:ptCount val="7"/>
                <c:pt idx="0">
                  <c:v>163.00317778331464</c:v>
                </c:pt>
                <c:pt idx="1">
                  <c:v>155.30085150900001</c:v>
                </c:pt>
                <c:pt idx="2">
                  <c:v>116.53644397670956</c:v>
                </c:pt>
                <c:pt idx="3">
                  <c:v>48.38063159971</c:v>
                </c:pt>
                <c:pt idx="4">
                  <c:v>26.998833237333333</c:v>
                </c:pt>
                <c:pt idx="5">
                  <c:v>24.735141872</c:v>
                </c:pt>
                <c:pt idx="6">
                  <c:v>22.900275815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B51-4939-8278-8AE7DF3C0F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697941112"/>
        <c:axId val="697942096"/>
      </c:barChart>
      <c:catAx>
        <c:axId val="69794111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O"/>
          </a:p>
        </c:txPr>
        <c:crossAx val="697942096"/>
        <c:crosses val="autoZero"/>
        <c:auto val="1"/>
        <c:lblAlgn val="ctr"/>
        <c:lblOffset val="100"/>
        <c:noMultiLvlLbl val="0"/>
      </c:catAx>
      <c:valAx>
        <c:axId val="69794209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* #,##0.0_-;\-* #,##0.0_-;_-* &quot;-&quot;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O"/>
          </a:p>
        </c:txPr>
        <c:crossAx val="6979411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CO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0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_tradnl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5E769B7-68F2-D84A-A75C-A95D366561F3}" type="datetimeFigureOut">
              <a:rPr lang="es-ES_tradnl" smtClean="0"/>
              <a:t>01/02/2018</a:t>
            </a:fld>
            <a:endParaRPr lang="es-ES_tradnl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_tradnl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_tradn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39D564C-B9C5-2E45-B8AB-70E86C790C84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8117616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45674A-CE95-47DD-A2F3-11105922B8E2}" type="slidenum">
              <a:rPr lang="es-CO" smtClean="0"/>
              <a:t>2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5950632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45674A-CE95-47DD-A2F3-11105922B8E2}" type="slidenum">
              <a:rPr lang="es-CO" smtClean="0"/>
              <a:t>3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0611620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8953120"/>
              </p:ext>
            </p:extLst>
          </p:nvPr>
        </p:nvGraphicFramePr>
        <p:xfrm>
          <a:off x="1758" y="1625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8" y="1625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ctangle 53"/>
          <p:cNvSpPr/>
          <p:nvPr/>
        </p:nvSpPr>
        <p:spPr>
          <a:xfrm flipH="1">
            <a:off x="2" y="2285784"/>
            <a:ext cx="9911266" cy="4573836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034" dirty="0">
              <a:solidFill>
                <a:srgbClr val="000000"/>
              </a:solidFill>
            </a:endParaRPr>
          </a:p>
        </p:txBody>
      </p:sp>
      <p:pic>
        <p:nvPicPr>
          <p:cNvPr id="18468" name="Picture 36" descr="http://inteligenciapetrolera.com.co/inicio/wp-content/uploads/2015/05/oleoductos-Colombia.jpg"/>
          <p:cNvPicPr>
            <a:picLocks noChangeAspect="1" noChangeArrowheads="1"/>
          </p:cNvPicPr>
          <p:nvPr/>
        </p:nvPicPr>
        <p:blipFill rotWithShape="1">
          <a:blip r:embed="rId6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" y="0"/>
            <a:ext cx="9911264" cy="22857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TitleTopPlaceholder"/>
          <p:cNvSpPr>
            <a:spLocks noChangeArrowheads="1"/>
          </p:cNvSpPr>
          <p:nvPr/>
        </p:nvSpPr>
        <p:spPr bwMode="auto">
          <a:xfrm>
            <a:off x="1" y="1944"/>
            <a:ext cx="9911265" cy="2283840"/>
          </a:xfrm>
          <a:prstGeom prst="rect">
            <a:avLst/>
          </a:prstGeom>
          <a:solidFill>
            <a:schemeClr val="accent1">
              <a:alpha val="70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endParaRPr lang="es-ES_tradnl" sz="1034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7" y="6574549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2923550" y="3448485"/>
            <a:ext cx="6478679" cy="369332"/>
          </a:xfrm>
          <a:prstGeom prst="rect">
            <a:avLst/>
          </a:prstGeom>
        </p:spPr>
        <p:txBody>
          <a:bodyPr/>
          <a:lstStyle>
            <a:lvl1pPr>
              <a:defRPr sz="24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s-ES_tradnl" noProof="0" dirty="0"/>
              <a:t>Título de la Presentación (Arial, 24, Blanco)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2923549" y="5372922"/>
            <a:ext cx="6478679" cy="33855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_tradnl" noProof="0" dirty="0"/>
              <a:t>Fecha de la presentación (DD de mes de AÑO) (Arial, 16, Azul Claro)</a:t>
            </a: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419733" y="372730"/>
            <a:ext cx="569067" cy="795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s-ES_tradnl" sz="517" b="1" dirty="0" err="1">
                <a:solidFill>
                  <a:srgbClr val="DCEBF4">
                    <a:lumMod val="25000"/>
                  </a:srgbClr>
                </a:solidFill>
              </a:rPr>
              <a:t>WORKING</a:t>
            </a:r>
            <a:r>
              <a:rPr lang="es-ES_tradnl" sz="517" b="1" dirty="0">
                <a:solidFill>
                  <a:srgbClr val="DCEBF4">
                    <a:lumMod val="25000"/>
                  </a:srgbClr>
                </a:solidFill>
              </a:rPr>
              <a:t> </a:t>
            </a:r>
            <a:r>
              <a:rPr lang="es-ES_tradnl" sz="517" b="1" dirty="0" err="1">
                <a:solidFill>
                  <a:srgbClr val="DCEBF4">
                    <a:lumMod val="25000"/>
                  </a:srgbClr>
                </a:solidFill>
              </a:rPr>
              <a:t>DRAFT</a:t>
            </a:r>
            <a:endParaRPr lang="es-ES_tradnl" sz="517" b="1" dirty="0">
              <a:solidFill>
                <a:srgbClr val="DCEBF4">
                  <a:lumMod val="25000"/>
                </a:srgbClr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419731" y="531465"/>
            <a:ext cx="1854675" cy="795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17">
                <a:solidFill>
                  <a:srgbClr val="DCEBF4">
                    <a:lumMod val="25000"/>
                  </a:srgbClr>
                </a:solidFill>
              </a:rPr>
              <a:t>Last Modified 08/08/2017 12:53 p. m. SA Pacific Standard Time</a:t>
            </a:r>
            <a:endParaRPr lang="es-ES_tradnl" sz="517" dirty="0">
              <a:solidFill>
                <a:srgbClr val="DCEBF4">
                  <a:lumMod val="25000"/>
                </a:srgbClr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419731" y="691820"/>
            <a:ext cx="209994" cy="795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s-ES_tradnl" sz="517" dirty="0" err="1">
                <a:solidFill>
                  <a:srgbClr val="DCEBF4">
                    <a:lumMod val="25000"/>
                  </a:srgbClr>
                </a:solidFill>
              </a:rPr>
              <a:t>Printed</a:t>
            </a:r>
            <a:endParaRPr lang="es-ES_tradnl" sz="517" dirty="0">
              <a:solidFill>
                <a:srgbClr val="DCEBF4">
                  <a:lumMod val="25000"/>
                </a:srgbClr>
              </a:solidFill>
            </a:endParaRPr>
          </a:p>
        </p:txBody>
      </p:sp>
      <p:grpSp>
        <p:nvGrpSpPr>
          <p:cNvPr id="37" name="Title Elements"/>
          <p:cNvGrpSpPr/>
          <p:nvPr/>
        </p:nvGrpSpPr>
        <p:grpSpPr>
          <a:xfrm>
            <a:off x="1" y="1"/>
            <a:ext cx="9902492" cy="6859620"/>
            <a:chOff x="0" y="0"/>
            <a:chExt cx="8958264" cy="6723063"/>
          </a:xfrm>
        </p:grpSpPr>
        <p:sp>
          <p:nvSpPr>
            <p:cNvPr id="38" name="Document type" hidden="1"/>
            <p:cNvSpPr txBox="1">
              <a:spLocks noChangeArrowheads="1"/>
            </p:cNvSpPr>
            <p:nvPr/>
          </p:nvSpPr>
          <p:spPr bwMode="auto">
            <a:xfrm>
              <a:off x="2640013" y="5487309"/>
              <a:ext cx="4935538" cy="121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803" dirty="0" err="1">
                  <a:solidFill>
                    <a:srgbClr val="DCEBF4"/>
                  </a:solidFill>
                  <a:latin typeface="Arial"/>
                </a:rPr>
                <a:t>Document</a:t>
              </a:r>
              <a:r>
                <a:rPr lang="es-ES_tradnl" sz="803" dirty="0">
                  <a:solidFill>
                    <a:srgbClr val="DCEBF4"/>
                  </a:solidFill>
                  <a:latin typeface="Arial"/>
                </a:rPr>
                <a:t> </a:t>
              </a:r>
              <a:r>
                <a:rPr lang="es-ES_tradnl" sz="803" dirty="0" err="1">
                  <a:solidFill>
                    <a:srgbClr val="DCEBF4"/>
                  </a:solidFill>
                  <a:latin typeface="Arial"/>
                </a:rPr>
                <a:t>type</a:t>
              </a:r>
              <a:endParaRPr lang="es-ES_tradnl" sz="803" dirty="0">
                <a:solidFill>
                  <a:srgbClr val="DCEBF4"/>
                </a:solidFill>
                <a:latin typeface="Arial"/>
              </a:endParaRPr>
            </a:p>
          </p:txBody>
        </p:sp>
        <p:sp>
          <p:nvSpPr>
            <p:cNvPr id="39" name="Date" hidden="1"/>
            <p:cNvSpPr txBox="1">
              <a:spLocks noChangeArrowheads="1"/>
            </p:cNvSpPr>
            <p:nvPr/>
          </p:nvSpPr>
          <p:spPr bwMode="auto">
            <a:xfrm>
              <a:off x="2640013" y="5660798"/>
              <a:ext cx="4935538" cy="121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803" dirty="0">
                  <a:solidFill>
                    <a:srgbClr val="DCEBF4"/>
                  </a:solidFill>
                  <a:latin typeface="Arial"/>
                </a:rPr>
                <a:t>Date</a:t>
              </a:r>
            </a:p>
          </p:txBody>
        </p:sp>
        <p:sp>
          <p:nvSpPr>
            <p:cNvPr id="40" name="Disclaimer" hidden="1"/>
            <p:cNvSpPr>
              <a:spLocks noChangeArrowheads="1"/>
            </p:cNvSpPr>
            <p:nvPr/>
          </p:nvSpPr>
          <p:spPr bwMode="auto">
            <a:xfrm>
              <a:off x="2640013" y="6189267"/>
              <a:ext cx="5121275" cy="138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461927" eaLnBrk="0" hangingPunct="0"/>
              <a:r>
                <a:rPr lang="es-ES_tradnl" sz="459" dirty="0" err="1">
                  <a:solidFill>
                    <a:srgbClr val="DCEBF4"/>
                  </a:solidFill>
                  <a:latin typeface="Arial"/>
                </a:rPr>
                <a:t>CONFIDENTIAL</a:t>
              </a:r>
              <a:r>
                <a:rPr lang="es-ES_tradnl" sz="459" dirty="0">
                  <a:solidFill>
                    <a:srgbClr val="DCEBF4"/>
                  </a:solidFill>
                  <a:latin typeface="Arial"/>
                </a:rPr>
                <a:t> AND </a:t>
              </a:r>
              <a:r>
                <a:rPr lang="es-ES_tradnl" sz="459" dirty="0" err="1">
                  <a:solidFill>
                    <a:srgbClr val="DCEBF4"/>
                  </a:solidFill>
                  <a:latin typeface="Arial"/>
                </a:rPr>
                <a:t>PROPRIETARY</a:t>
              </a:r>
              <a:endParaRPr lang="es-ES_tradnl" sz="459" dirty="0">
                <a:solidFill>
                  <a:srgbClr val="DCEBF4"/>
                </a:solidFill>
                <a:latin typeface="Arial"/>
              </a:endParaRPr>
            </a:p>
            <a:p>
              <a:pPr defTabSz="461927" eaLnBrk="0" hangingPunct="0"/>
              <a:r>
                <a:rPr lang="es-ES_tradnl" sz="459" dirty="0" err="1">
                  <a:solidFill>
                    <a:srgbClr val="DCEBF4"/>
                  </a:solidFill>
                  <a:latin typeface="Arial"/>
                </a:rPr>
                <a:t>Any</a:t>
              </a:r>
              <a:r>
                <a:rPr lang="es-ES_tradnl" sz="459" dirty="0">
                  <a:solidFill>
                    <a:srgbClr val="DCEBF4"/>
                  </a:solidFill>
                  <a:latin typeface="Arial"/>
                </a:rPr>
                <a:t> use of </a:t>
              </a:r>
              <a:r>
                <a:rPr lang="es-ES_tradnl" sz="459" dirty="0" err="1">
                  <a:solidFill>
                    <a:srgbClr val="DCEBF4"/>
                  </a:solidFill>
                  <a:latin typeface="Arial"/>
                </a:rPr>
                <a:t>this</a:t>
              </a:r>
              <a:r>
                <a:rPr lang="es-ES_tradnl" sz="459" dirty="0">
                  <a:solidFill>
                    <a:srgbClr val="DCEBF4"/>
                  </a:solidFill>
                  <a:latin typeface="Arial"/>
                </a:rPr>
                <a:t> material </a:t>
              </a:r>
              <a:r>
                <a:rPr lang="es-ES_tradnl" sz="459" dirty="0" err="1">
                  <a:solidFill>
                    <a:srgbClr val="DCEBF4"/>
                  </a:solidFill>
                  <a:latin typeface="Arial"/>
                </a:rPr>
                <a:t>without</a:t>
              </a:r>
              <a:r>
                <a:rPr lang="es-ES_tradnl" sz="459" dirty="0">
                  <a:solidFill>
                    <a:srgbClr val="DCEBF4"/>
                  </a:solidFill>
                  <a:latin typeface="Arial"/>
                </a:rPr>
                <a:t> </a:t>
              </a:r>
              <a:r>
                <a:rPr lang="es-ES_tradnl" sz="459" dirty="0" err="1">
                  <a:solidFill>
                    <a:srgbClr val="DCEBF4"/>
                  </a:solidFill>
                  <a:latin typeface="Arial"/>
                </a:rPr>
                <a:t>specific</a:t>
              </a:r>
              <a:r>
                <a:rPr lang="es-ES_tradnl" sz="459" dirty="0">
                  <a:solidFill>
                    <a:srgbClr val="DCEBF4"/>
                  </a:solidFill>
                  <a:latin typeface="Arial"/>
                </a:rPr>
                <a:t> </a:t>
              </a:r>
              <a:r>
                <a:rPr lang="es-ES_tradnl" sz="459" dirty="0" err="1">
                  <a:solidFill>
                    <a:srgbClr val="DCEBF4"/>
                  </a:solidFill>
                  <a:latin typeface="Arial"/>
                </a:rPr>
                <a:t>permission</a:t>
              </a:r>
              <a:r>
                <a:rPr lang="es-ES_tradnl" sz="459" dirty="0">
                  <a:solidFill>
                    <a:srgbClr val="DCEBF4"/>
                  </a:solidFill>
                  <a:latin typeface="Arial"/>
                </a:rPr>
                <a:t> of McKinsey &amp; Company </a:t>
              </a:r>
              <a:r>
                <a:rPr lang="es-ES_tradnl" sz="459" dirty="0" err="1">
                  <a:solidFill>
                    <a:srgbClr val="DCEBF4"/>
                  </a:solidFill>
                  <a:latin typeface="Arial"/>
                </a:rPr>
                <a:t>is</a:t>
              </a:r>
              <a:r>
                <a:rPr lang="es-ES_tradnl" sz="459" dirty="0">
                  <a:solidFill>
                    <a:srgbClr val="DCEBF4"/>
                  </a:solidFill>
                  <a:latin typeface="Arial"/>
                </a:rPr>
                <a:t> </a:t>
              </a:r>
              <a:r>
                <a:rPr lang="es-ES_tradnl" sz="459" dirty="0" err="1">
                  <a:solidFill>
                    <a:srgbClr val="DCEBF4"/>
                  </a:solidFill>
                  <a:latin typeface="Arial"/>
                </a:rPr>
                <a:t>strictly</a:t>
              </a:r>
              <a:r>
                <a:rPr lang="es-ES_tradnl" sz="459" dirty="0">
                  <a:solidFill>
                    <a:srgbClr val="DCEBF4"/>
                  </a:solidFill>
                  <a:latin typeface="Arial"/>
                </a:rPr>
                <a:t> </a:t>
              </a:r>
              <a:r>
                <a:rPr lang="es-ES_tradnl" sz="459" dirty="0" err="1">
                  <a:solidFill>
                    <a:srgbClr val="DCEBF4"/>
                  </a:solidFill>
                  <a:latin typeface="Arial"/>
                </a:rPr>
                <a:t>prohibited</a:t>
              </a:r>
              <a:endParaRPr lang="es-ES_tradnl" sz="459" dirty="0">
                <a:solidFill>
                  <a:srgbClr val="DCEBF4"/>
                </a:solidFill>
                <a:latin typeface="Arial"/>
              </a:endParaRPr>
            </a:p>
          </p:txBody>
        </p:sp>
        <p:sp>
          <p:nvSpPr>
            <p:cNvPr id="41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03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2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03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3" name="Rectangle 42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034" dirty="0">
                <a:solidFill>
                  <a:srgbClr val="000000"/>
                </a:solidFill>
              </a:endParaRPr>
            </a:p>
          </p:txBody>
        </p:sp>
      </p:grpSp>
      <p:sp>
        <p:nvSpPr>
          <p:cNvPr id="19" name="Rectangle 87"/>
          <p:cNvSpPr>
            <a:spLocks noChangeArrowheads="1"/>
          </p:cNvSpPr>
          <p:nvPr/>
        </p:nvSpPr>
        <p:spPr bwMode="auto">
          <a:xfrm rot="16200000">
            <a:off x="1658710" y="3912739"/>
            <a:ext cx="1230716" cy="302209"/>
          </a:xfrm>
          <a:prstGeom prst="rect">
            <a:avLst/>
          </a:prstGeom>
          <a:solidFill>
            <a:schemeClr val="tx2">
              <a:lumMod val="60000"/>
              <a:lumOff val="40000"/>
              <a:alpha val="17000"/>
            </a:schemeClr>
          </a:solidFill>
          <a:ln>
            <a:noFill/>
          </a:ln>
        </p:spPr>
        <p:txBody>
          <a:bodyPr vert="horz" wrap="square" lIns="52480" tIns="26240" rIns="52480" bIns="26240" numCol="1" anchor="t" anchorCtr="0" compatLnSpc="1">
            <a:prstTxWarp prst="textNoShape">
              <a:avLst/>
            </a:prstTxWarp>
          </a:bodyPr>
          <a:lstStyle/>
          <a:p>
            <a:endParaRPr lang="es-ES_tradnl" sz="1034" dirty="0">
              <a:solidFill>
                <a:srgbClr val="000000"/>
              </a:solidFill>
            </a:endParaRPr>
          </a:p>
        </p:txBody>
      </p:sp>
      <p:sp>
        <p:nvSpPr>
          <p:cNvPr id="20" name="Freeform 88"/>
          <p:cNvSpPr>
            <a:spLocks noEditPoints="1"/>
          </p:cNvSpPr>
          <p:nvPr/>
        </p:nvSpPr>
        <p:spPr bwMode="auto">
          <a:xfrm rot="16200000">
            <a:off x="205583" y="2623616"/>
            <a:ext cx="608837" cy="629253"/>
          </a:xfrm>
          <a:custGeom>
            <a:avLst/>
            <a:gdLst>
              <a:gd name="T0" fmla="*/ 176 w 201"/>
              <a:gd name="T1" fmla="*/ 16 h 192"/>
              <a:gd name="T2" fmla="*/ 97 w 201"/>
              <a:gd name="T3" fmla="*/ 16 h 192"/>
              <a:gd name="T4" fmla="*/ 17 w 201"/>
              <a:gd name="T5" fmla="*/ 92 h 192"/>
              <a:gd name="T6" fmla="*/ 17 w 201"/>
              <a:gd name="T7" fmla="*/ 167 h 192"/>
              <a:gd name="T8" fmla="*/ 0 w 201"/>
              <a:gd name="T9" fmla="*/ 167 h 192"/>
              <a:gd name="T10" fmla="*/ 0 w 201"/>
              <a:gd name="T11" fmla="*/ 192 h 192"/>
              <a:gd name="T12" fmla="*/ 134 w 201"/>
              <a:gd name="T13" fmla="*/ 192 h 192"/>
              <a:gd name="T14" fmla="*/ 134 w 201"/>
              <a:gd name="T15" fmla="*/ 167 h 192"/>
              <a:gd name="T16" fmla="*/ 117 w 201"/>
              <a:gd name="T17" fmla="*/ 167 h 192"/>
              <a:gd name="T18" fmla="*/ 117 w 201"/>
              <a:gd name="T19" fmla="*/ 136 h 192"/>
              <a:gd name="T20" fmla="*/ 142 w 201"/>
              <a:gd name="T21" fmla="*/ 108 h 192"/>
              <a:gd name="T22" fmla="*/ 176 w 201"/>
              <a:gd name="T23" fmla="*/ 108 h 192"/>
              <a:gd name="T24" fmla="*/ 176 w 201"/>
              <a:gd name="T25" fmla="*/ 125 h 192"/>
              <a:gd name="T26" fmla="*/ 201 w 201"/>
              <a:gd name="T27" fmla="*/ 125 h 192"/>
              <a:gd name="T28" fmla="*/ 201 w 201"/>
              <a:gd name="T29" fmla="*/ 0 h 192"/>
              <a:gd name="T30" fmla="*/ 176 w 201"/>
              <a:gd name="T31" fmla="*/ 0 h 192"/>
              <a:gd name="T32" fmla="*/ 176 w 201"/>
              <a:gd name="T33" fmla="*/ 16 h 192"/>
              <a:gd name="T34" fmla="*/ 176 w 201"/>
              <a:gd name="T35" fmla="*/ 16 h 192"/>
              <a:gd name="T36" fmla="*/ 176 w 201"/>
              <a:gd name="T37" fmla="*/ 16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01" h="192">
                <a:moveTo>
                  <a:pt x="176" y="16"/>
                </a:moveTo>
                <a:cubicBezTo>
                  <a:pt x="97" y="16"/>
                  <a:pt x="97" y="16"/>
                  <a:pt x="97" y="16"/>
                </a:cubicBezTo>
                <a:cubicBezTo>
                  <a:pt x="17" y="16"/>
                  <a:pt x="17" y="92"/>
                  <a:pt x="17" y="92"/>
                </a:cubicBezTo>
                <a:cubicBezTo>
                  <a:pt x="17" y="167"/>
                  <a:pt x="17" y="167"/>
                  <a:pt x="17" y="167"/>
                </a:cubicBezTo>
                <a:cubicBezTo>
                  <a:pt x="0" y="167"/>
                  <a:pt x="0" y="167"/>
                  <a:pt x="0" y="167"/>
                </a:cubicBezTo>
                <a:cubicBezTo>
                  <a:pt x="0" y="192"/>
                  <a:pt x="0" y="192"/>
                  <a:pt x="0" y="192"/>
                </a:cubicBezTo>
                <a:cubicBezTo>
                  <a:pt x="134" y="192"/>
                  <a:pt x="134" y="192"/>
                  <a:pt x="134" y="192"/>
                </a:cubicBezTo>
                <a:cubicBezTo>
                  <a:pt x="134" y="167"/>
                  <a:pt x="134" y="167"/>
                  <a:pt x="134" y="167"/>
                </a:cubicBezTo>
                <a:cubicBezTo>
                  <a:pt x="117" y="167"/>
                  <a:pt x="117" y="167"/>
                  <a:pt x="117" y="167"/>
                </a:cubicBezTo>
                <a:cubicBezTo>
                  <a:pt x="117" y="136"/>
                  <a:pt x="117" y="136"/>
                  <a:pt x="117" y="136"/>
                </a:cubicBezTo>
                <a:cubicBezTo>
                  <a:pt x="117" y="136"/>
                  <a:pt x="115" y="108"/>
                  <a:pt x="142" y="108"/>
                </a:cubicBezTo>
                <a:cubicBezTo>
                  <a:pt x="176" y="108"/>
                  <a:pt x="176" y="108"/>
                  <a:pt x="176" y="108"/>
                </a:cubicBezTo>
                <a:cubicBezTo>
                  <a:pt x="176" y="125"/>
                  <a:pt x="176" y="125"/>
                  <a:pt x="176" y="125"/>
                </a:cubicBezTo>
                <a:cubicBezTo>
                  <a:pt x="201" y="125"/>
                  <a:pt x="201" y="125"/>
                  <a:pt x="201" y="125"/>
                </a:cubicBezTo>
                <a:cubicBezTo>
                  <a:pt x="201" y="0"/>
                  <a:pt x="201" y="0"/>
                  <a:pt x="201" y="0"/>
                </a:cubicBezTo>
                <a:cubicBezTo>
                  <a:pt x="176" y="0"/>
                  <a:pt x="176" y="0"/>
                  <a:pt x="176" y="0"/>
                </a:cubicBezTo>
                <a:lnTo>
                  <a:pt x="176" y="16"/>
                </a:lnTo>
                <a:close/>
                <a:moveTo>
                  <a:pt x="176" y="16"/>
                </a:moveTo>
                <a:cubicBezTo>
                  <a:pt x="176" y="16"/>
                  <a:pt x="176" y="16"/>
                  <a:pt x="176" y="16"/>
                </a:cubicBezTo>
              </a:path>
            </a:pathLst>
          </a:custGeom>
          <a:solidFill>
            <a:schemeClr val="tx2">
              <a:lumMod val="60000"/>
              <a:lumOff val="40000"/>
              <a:alpha val="17000"/>
            </a:schemeClr>
          </a:solidFill>
          <a:ln>
            <a:noFill/>
          </a:ln>
        </p:spPr>
        <p:txBody>
          <a:bodyPr vert="horz" wrap="square" lIns="52480" tIns="26240" rIns="52480" bIns="26240" numCol="1" anchor="t" anchorCtr="0" compatLnSpc="1">
            <a:prstTxWarp prst="textNoShape">
              <a:avLst/>
            </a:prstTxWarp>
          </a:bodyPr>
          <a:lstStyle/>
          <a:p>
            <a:endParaRPr lang="es-ES_tradnl" sz="1034" dirty="0">
              <a:solidFill>
                <a:srgbClr val="000000"/>
              </a:solidFill>
            </a:endParaRPr>
          </a:p>
        </p:txBody>
      </p:sp>
      <p:sp>
        <p:nvSpPr>
          <p:cNvPr id="45" name="Rectangle 86"/>
          <p:cNvSpPr>
            <a:spLocks noChangeArrowheads="1"/>
          </p:cNvSpPr>
          <p:nvPr/>
        </p:nvSpPr>
        <p:spPr bwMode="auto">
          <a:xfrm rot="5400000">
            <a:off x="1184918" y="2530311"/>
            <a:ext cx="303144" cy="1023729"/>
          </a:xfrm>
          <a:prstGeom prst="rect">
            <a:avLst/>
          </a:prstGeom>
          <a:solidFill>
            <a:schemeClr val="tx2">
              <a:lumMod val="60000"/>
              <a:lumOff val="40000"/>
              <a:alpha val="17000"/>
            </a:schemeClr>
          </a:solidFill>
          <a:ln>
            <a:noFill/>
          </a:ln>
        </p:spPr>
        <p:txBody>
          <a:bodyPr vert="horz" wrap="square" lIns="52480" tIns="26240" rIns="52480" bIns="26240" numCol="1" anchor="t" anchorCtr="0" compatLnSpc="1">
            <a:prstTxWarp prst="textNoShape">
              <a:avLst/>
            </a:prstTxWarp>
          </a:bodyPr>
          <a:lstStyle/>
          <a:p>
            <a:endParaRPr lang="es-ES_tradnl" sz="1034" dirty="0">
              <a:solidFill>
                <a:srgbClr val="000000"/>
              </a:solidFill>
            </a:endParaRPr>
          </a:p>
        </p:txBody>
      </p:sp>
      <p:sp>
        <p:nvSpPr>
          <p:cNvPr id="47" name="Freeform 88"/>
          <p:cNvSpPr>
            <a:spLocks noEditPoints="1"/>
          </p:cNvSpPr>
          <p:nvPr/>
        </p:nvSpPr>
        <p:spPr bwMode="auto">
          <a:xfrm rot="5400000">
            <a:off x="1858566" y="2829445"/>
            <a:ext cx="608837" cy="629253"/>
          </a:xfrm>
          <a:custGeom>
            <a:avLst/>
            <a:gdLst>
              <a:gd name="T0" fmla="*/ 176 w 201"/>
              <a:gd name="T1" fmla="*/ 16 h 192"/>
              <a:gd name="T2" fmla="*/ 97 w 201"/>
              <a:gd name="T3" fmla="*/ 16 h 192"/>
              <a:gd name="T4" fmla="*/ 17 w 201"/>
              <a:gd name="T5" fmla="*/ 92 h 192"/>
              <a:gd name="T6" fmla="*/ 17 w 201"/>
              <a:gd name="T7" fmla="*/ 167 h 192"/>
              <a:gd name="T8" fmla="*/ 0 w 201"/>
              <a:gd name="T9" fmla="*/ 167 h 192"/>
              <a:gd name="T10" fmla="*/ 0 w 201"/>
              <a:gd name="T11" fmla="*/ 192 h 192"/>
              <a:gd name="T12" fmla="*/ 134 w 201"/>
              <a:gd name="T13" fmla="*/ 192 h 192"/>
              <a:gd name="T14" fmla="*/ 134 w 201"/>
              <a:gd name="T15" fmla="*/ 167 h 192"/>
              <a:gd name="T16" fmla="*/ 117 w 201"/>
              <a:gd name="T17" fmla="*/ 167 h 192"/>
              <a:gd name="T18" fmla="*/ 117 w 201"/>
              <a:gd name="T19" fmla="*/ 136 h 192"/>
              <a:gd name="T20" fmla="*/ 142 w 201"/>
              <a:gd name="T21" fmla="*/ 108 h 192"/>
              <a:gd name="T22" fmla="*/ 176 w 201"/>
              <a:gd name="T23" fmla="*/ 108 h 192"/>
              <a:gd name="T24" fmla="*/ 176 w 201"/>
              <a:gd name="T25" fmla="*/ 125 h 192"/>
              <a:gd name="T26" fmla="*/ 201 w 201"/>
              <a:gd name="T27" fmla="*/ 125 h 192"/>
              <a:gd name="T28" fmla="*/ 201 w 201"/>
              <a:gd name="T29" fmla="*/ 0 h 192"/>
              <a:gd name="T30" fmla="*/ 176 w 201"/>
              <a:gd name="T31" fmla="*/ 0 h 192"/>
              <a:gd name="T32" fmla="*/ 176 w 201"/>
              <a:gd name="T33" fmla="*/ 16 h 192"/>
              <a:gd name="T34" fmla="*/ 176 w 201"/>
              <a:gd name="T35" fmla="*/ 16 h 192"/>
              <a:gd name="T36" fmla="*/ 176 w 201"/>
              <a:gd name="T37" fmla="*/ 16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01" h="192">
                <a:moveTo>
                  <a:pt x="176" y="16"/>
                </a:moveTo>
                <a:cubicBezTo>
                  <a:pt x="97" y="16"/>
                  <a:pt x="97" y="16"/>
                  <a:pt x="97" y="16"/>
                </a:cubicBezTo>
                <a:cubicBezTo>
                  <a:pt x="17" y="16"/>
                  <a:pt x="17" y="92"/>
                  <a:pt x="17" y="92"/>
                </a:cubicBezTo>
                <a:cubicBezTo>
                  <a:pt x="17" y="167"/>
                  <a:pt x="17" y="167"/>
                  <a:pt x="17" y="167"/>
                </a:cubicBezTo>
                <a:cubicBezTo>
                  <a:pt x="0" y="167"/>
                  <a:pt x="0" y="167"/>
                  <a:pt x="0" y="167"/>
                </a:cubicBezTo>
                <a:cubicBezTo>
                  <a:pt x="0" y="192"/>
                  <a:pt x="0" y="192"/>
                  <a:pt x="0" y="192"/>
                </a:cubicBezTo>
                <a:cubicBezTo>
                  <a:pt x="134" y="192"/>
                  <a:pt x="134" y="192"/>
                  <a:pt x="134" y="192"/>
                </a:cubicBezTo>
                <a:cubicBezTo>
                  <a:pt x="134" y="167"/>
                  <a:pt x="134" y="167"/>
                  <a:pt x="134" y="167"/>
                </a:cubicBezTo>
                <a:cubicBezTo>
                  <a:pt x="117" y="167"/>
                  <a:pt x="117" y="167"/>
                  <a:pt x="117" y="167"/>
                </a:cubicBezTo>
                <a:cubicBezTo>
                  <a:pt x="117" y="136"/>
                  <a:pt x="117" y="136"/>
                  <a:pt x="117" y="136"/>
                </a:cubicBezTo>
                <a:cubicBezTo>
                  <a:pt x="117" y="136"/>
                  <a:pt x="115" y="108"/>
                  <a:pt x="142" y="108"/>
                </a:cubicBezTo>
                <a:cubicBezTo>
                  <a:pt x="176" y="108"/>
                  <a:pt x="176" y="108"/>
                  <a:pt x="176" y="108"/>
                </a:cubicBezTo>
                <a:cubicBezTo>
                  <a:pt x="176" y="125"/>
                  <a:pt x="176" y="125"/>
                  <a:pt x="176" y="125"/>
                </a:cubicBezTo>
                <a:cubicBezTo>
                  <a:pt x="201" y="125"/>
                  <a:pt x="201" y="125"/>
                  <a:pt x="201" y="125"/>
                </a:cubicBezTo>
                <a:cubicBezTo>
                  <a:pt x="201" y="0"/>
                  <a:pt x="201" y="0"/>
                  <a:pt x="201" y="0"/>
                </a:cubicBezTo>
                <a:cubicBezTo>
                  <a:pt x="176" y="0"/>
                  <a:pt x="176" y="0"/>
                  <a:pt x="176" y="0"/>
                </a:cubicBezTo>
                <a:lnTo>
                  <a:pt x="176" y="16"/>
                </a:lnTo>
                <a:close/>
                <a:moveTo>
                  <a:pt x="176" y="16"/>
                </a:moveTo>
                <a:cubicBezTo>
                  <a:pt x="176" y="16"/>
                  <a:pt x="176" y="16"/>
                  <a:pt x="176" y="16"/>
                </a:cubicBezTo>
              </a:path>
            </a:pathLst>
          </a:custGeom>
          <a:solidFill>
            <a:schemeClr val="tx2">
              <a:lumMod val="60000"/>
              <a:lumOff val="40000"/>
              <a:alpha val="17000"/>
            </a:schemeClr>
          </a:solidFill>
          <a:ln>
            <a:noFill/>
          </a:ln>
        </p:spPr>
        <p:txBody>
          <a:bodyPr vert="horz" wrap="square" lIns="52480" tIns="26240" rIns="52480" bIns="26240" numCol="1" anchor="t" anchorCtr="0" compatLnSpc="1">
            <a:prstTxWarp prst="textNoShape">
              <a:avLst/>
            </a:prstTxWarp>
          </a:bodyPr>
          <a:lstStyle/>
          <a:p>
            <a:endParaRPr lang="es-ES_tradnl" sz="1034" dirty="0">
              <a:solidFill>
                <a:srgbClr val="000000"/>
              </a:solidFill>
            </a:endParaRPr>
          </a:p>
        </p:txBody>
      </p:sp>
      <p:sp>
        <p:nvSpPr>
          <p:cNvPr id="56" name="Rectangle 87"/>
          <p:cNvSpPr>
            <a:spLocks noChangeArrowheads="1"/>
          </p:cNvSpPr>
          <p:nvPr/>
        </p:nvSpPr>
        <p:spPr bwMode="auto">
          <a:xfrm rot="16200000">
            <a:off x="224054" y="2307727"/>
            <a:ext cx="349980" cy="302209"/>
          </a:xfrm>
          <a:prstGeom prst="rect">
            <a:avLst/>
          </a:prstGeom>
          <a:solidFill>
            <a:schemeClr val="tx2">
              <a:lumMod val="60000"/>
              <a:lumOff val="40000"/>
              <a:alpha val="17000"/>
            </a:schemeClr>
          </a:solidFill>
          <a:ln>
            <a:noFill/>
          </a:ln>
        </p:spPr>
        <p:txBody>
          <a:bodyPr vert="horz" wrap="square" lIns="52480" tIns="26240" rIns="52480" bIns="26240" numCol="1" anchor="t" anchorCtr="0" compatLnSpc="1">
            <a:prstTxWarp prst="textNoShape">
              <a:avLst/>
            </a:prstTxWarp>
          </a:bodyPr>
          <a:lstStyle/>
          <a:p>
            <a:endParaRPr lang="es-ES_tradnl" sz="1034" dirty="0">
              <a:solidFill>
                <a:srgbClr val="000000"/>
              </a:solidFill>
            </a:endParaRPr>
          </a:p>
        </p:txBody>
      </p:sp>
      <p:grpSp>
        <p:nvGrpSpPr>
          <p:cNvPr id="33" name="Group 32"/>
          <p:cNvGrpSpPr/>
          <p:nvPr/>
        </p:nvGrpSpPr>
        <p:grpSpPr>
          <a:xfrm rot="16200000" flipH="1">
            <a:off x="5688186" y="1045715"/>
            <a:ext cx="580815" cy="7847800"/>
            <a:chOff x="1373570" y="4512865"/>
            <a:chExt cx="569252" cy="7099493"/>
          </a:xfrm>
        </p:grpSpPr>
        <p:sp>
          <p:nvSpPr>
            <p:cNvPr id="59" name="Rectangle 87"/>
            <p:cNvSpPr>
              <a:spLocks noChangeArrowheads="1"/>
            </p:cNvSpPr>
            <p:nvPr userDrawn="1"/>
          </p:nvSpPr>
          <p:spPr bwMode="auto">
            <a:xfrm rot="16200000">
              <a:off x="-1492699" y="8224274"/>
              <a:ext cx="6502776" cy="273392"/>
            </a:xfrm>
            <a:prstGeom prst="rect">
              <a:avLst/>
            </a:prstGeom>
            <a:solidFill>
              <a:schemeClr val="tx2">
                <a:lumMod val="60000"/>
                <a:lumOff val="40000"/>
                <a:alpha val="17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_tradnl" sz="1034" dirty="0">
                <a:solidFill>
                  <a:srgbClr val="000000"/>
                </a:solidFill>
              </a:endParaRPr>
            </a:p>
          </p:txBody>
        </p:sp>
        <p:sp>
          <p:nvSpPr>
            <p:cNvPr id="60" name="Freeform 88"/>
            <p:cNvSpPr>
              <a:spLocks noEditPoints="1"/>
            </p:cNvSpPr>
            <p:nvPr userDrawn="1"/>
          </p:nvSpPr>
          <p:spPr bwMode="auto">
            <a:xfrm rot="5400000">
              <a:off x="1359837" y="4526598"/>
              <a:ext cx="596717" cy="569252"/>
            </a:xfrm>
            <a:custGeom>
              <a:avLst/>
              <a:gdLst>
                <a:gd name="T0" fmla="*/ 176 w 201"/>
                <a:gd name="T1" fmla="*/ 16 h 192"/>
                <a:gd name="T2" fmla="*/ 97 w 201"/>
                <a:gd name="T3" fmla="*/ 16 h 192"/>
                <a:gd name="T4" fmla="*/ 17 w 201"/>
                <a:gd name="T5" fmla="*/ 92 h 192"/>
                <a:gd name="T6" fmla="*/ 17 w 201"/>
                <a:gd name="T7" fmla="*/ 167 h 192"/>
                <a:gd name="T8" fmla="*/ 0 w 201"/>
                <a:gd name="T9" fmla="*/ 167 h 192"/>
                <a:gd name="T10" fmla="*/ 0 w 201"/>
                <a:gd name="T11" fmla="*/ 192 h 192"/>
                <a:gd name="T12" fmla="*/ 134 w 201"/>
                <a:gd name="T13" fmla="*/ 192 h 192"/>
                <a:gd name="T14" fmla="*/ 134 w 201"/>
                <a:gd name="T15" fmla="*/ 167 h 192"/>
                <a:gd name="T16" fmla="*/ 117 w 201"/>
                <a:gd name="T17" fmla="*/ 167 h 192"/>
                <a:gd name="T18" fmla="*/ 117 w 201"/>
                <a:gd name="T19" fmla="*/ 136 h 192"/>
                <a:gd name="T20" fmla="*/ 142 w 201"/>
                <a:gd name="T21" fmla="*/ 108 h 192"/>
                <a:gd name="T22" fmla="*/ 176 w 201"/>
                <a:gd name="T23" fmla="*/ 108 h 192"/>
                <a:gd name="T24" fmla="*/ 176 w 201"/>
                <a:gd name="T25" fmla="*/ 125 h 192"/>
                <a:gd name="T26" fmla="*/ 201 w 201"/>
                <a:gd name="T27" fmla="*/ 125 h 192"/>
                <a:gd name="T28" fmla="*/ 201 w 201"/>
                <a:gd name="T29" fmla="*/ 0 h 192"/>
                <a:gd name="T30" fmla="*/ 176 w 201"/>
                <a:gd name="T31" fmla="*/ 0 h 192"/>
                <a:gd name="T32" fmla="*/ 176 w 201"/>
                <a:gd name="T33" fmla="*/ 16 h 192"/>
                <a:gd name="T34" fmla="*/ 176 w 201"/>
                <a:gd name="T35" fmla="*/ 16 h 192"/>
                <a:gd name="T36" fmla="*/ 176 w 201"/>
                <a:gd name="T37" fmla="*/ 16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1" h="192">
                  <a:moveTo>
                    <a:pt x="176" y="16"/>
                  </a:moveTo>
                  <a:cubicBezTo>
                    <a:pt x="97" y="16"/>
                    <a:pt x="97" y="16"/>
                    <a:pt x="97" y="16"/>
                  </a:cubicBezTo>
                  <a:cubicBezTo>
                    <a:pt x="17" y="16"/>
                    <a:pt x="17" y="92"/>
                    <a:pt x="17" y="92"/>
                  </a:cubicBezTo>
                  <a:cubicBezTo>
                    <a:pt x="17" y="167"/>
                    <a:pt x="17" y="167"/>
                    <a:pt x="17" y="167"/>
                  </a:cubicBezTo>
                  <a:cubicBezTo>
                    <a:pt x="0" y="167"/>
                    <a:pt x="0" y="167"/>
                    <a:pt x="0" y="167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134" y="192"/>
                    <a:pt x="134" y="192"/>
                    <a:pt x="134" y="192"/>
                  </a:cubicBezTo>
                  <a:cubicBezTo>
                    <a:pt x="134" y="167"/>
                    <a:pt x="134" y="167"/>
                    <a:pt x="134" y="167"/>
                  </a:cubicBezTo>
                  <a:cubicBezTo>
                    <a:pt x="117" y="167"/>
                    <a:pt x="117" y="167"/>
                    <a:pt x="117" y="167"/>
                  </a:cubicBezTo>
                  <a:cubicBezTo>
                    <a:pt x="117" y="136"/>
                    <a:pt x="117" y="136"/>
                    <a:pt x="117" y="136"/>
                  </a:cubicBezTo>
                  <a:cubicBezTo>
                    <a:pt x="117" y="136"/>
                    <a:pt x="115" y="108"/>
                    <a:pt x="142" y="108"/>
                  </a:cubicBezTo>
                  <a:cubicBezTo>
                    <a:pt x="176" y="108"/>
                    <a:pt x="176" y="108"/>
                    <a:pt x="176" y="108"/>
                  </a:cubicBezTo>
                  <a:cubicBezTo>
                    <a:pt x="176" y="125"/>
                    <a:pt x="176" y="125"/>
                    <a:pt x="176" y="125"/>
                  </a:cubicBezTo>
                  <a:cubicBezTo>
                    <a:pt x="201" y="125"/>
                    <a:pt x="201" y="125"/>
                    <a:pt x="201" y="125"/>
                  </a:cubicBezTo>
                  <a:cubicBezTo>
                    <a:pt x="201" y="0"/>
                    <a:pt x="201" y="0"/>
                    <a:pt x="201" y="0"/>
                  </a:cubicBezTo>
                  <a:cubicBezTo>
                    <a:pt x="176" y="0"/>
                    <a:pt x="176" y="0"/>
                    <a:pt x="176" y="0"/>
                  </a:cubicBezTo>
                  <a:lnTo>
                    <a:pt x="176" y="16"/>
                  </a:lnTo>
                  <a:close/>
                  <a:moveTo>
                    <a:pt x="176" y="16"/>
                  </a:moveTo>
                  <a:cubicBezTo>
                    <a:pt x="176" y="16"/>
                    <a:pt x="176" y="16"/>
                    <a:pt x="176" y="16"/>
                  </a:cubicBezTo>
                </a:path>
              </a:pathLst>
            </a:custGeom>
            <a:solidFill>
              <a:schemeClr val="tx2">
                <a:lumMod val="60000"/>
                <a:lumOff val="40000"/>
                <a:alpha val="17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_tradnl" sz="1034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9" name="Title Elements"/>
          <p:cNvGrpSpPr/>
          <p:nvPr/>
        </p:nvGrpSpPr>
        <p:grpSpPr>
          <a:xfrm>
            <a:off x="1" y="1"/>
            <a:ext cx="9902492" cy="6859620"/>
            <a:chOff x="0" y="0"/>
            <a:chExt cx="8958264" cy="6723063"/>
          </a:xfrm>
        </p:grpSpPr>
        <p:sp>
          <p:nvSpPr>
            <p:cNvPr id="30" name="Document type" hidden="1"/>
            <p:cNvSpPr txBox="1">
              <a:spLocks noChangeArrowheads="1"/>
            </p:cNvSpPr>
            <p:nvPr/>
          </p:nvSpPr>
          <p:spPr bwMode="auto">
            <a:xfrm>
              <a:off x="2640013" y="5025575"/>
              <a:ext cx="4935538" cy="121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803" dirty="0" err="1">
                  <a:solidFill>
                    <a:srgbClr val="000000"/>
                  </a:solidFill>
                  <a:latin typeface="Arial"/>
                </a:rPr>
                <a:t>Document</a:t>
              </a:r>
              <a:r>
                <a:rPr lang="es-ES_tradnl" sz="803" dirty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803" dirty="0" err="1">
                  <a:solidFill>
                    <a:srgbClr val="000000"/>
                  </a:solidFill>
                  <a:latin typeface="Arial"/>
                </a:rPr>
                <a:t>type</a:t>
              </a:r>
              <a:endParaRPr lang="es-ES_tradnl" sz="803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" name="Date" hidden="1"/>
            <p:cNvSpPr txBox="1">
              <a:spLocks noChangeArrowheads="1"/>
            </p:cNvSpPr>
            <p:nvPr/>
          </p:nvSpPr>
          <p:spPr bwMode="auto">
            <a:xfrm>
              <a:off x="2640013" y="5199063"/>
              <a:ext cx="4935538" cy="121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803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32" name="Disclaimer" hidden="1"/>
            <p:cNvSpPr>
              <a:spLocks noChangeArrowheads="1"/>
            </p:cNvSpPr>
            <p:nvPr/>
          </p:nvSpPr>
          <p:spPr bwMode="auto">
            <a:xfrm>
              <a:off x="2640013" y="6001942"/>
              <a:ext cx="5121275" cy="138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461927" eaLnBrk="0" hangingPunct="0"/>
              <a:r>
                <a:rPr lang="es-ES_tradnl" sz="459" dirty="0" err="1">
                  <a:solidFill>
                    <a:srgbClr val="000000"/>
                  </a:solidFill>
                  <a:latin typeface="Arial"/>
                </a:rPr>
                <a:t>CONFIDENTIAL</a:t>
              </a:r>
              <a:r>
                <a:rPr lang="es-ES_tradnl" sz="459" dirty="0">
                  <a:solidFill>
                    <a:srgbClr val="000000"/>
                  </a:solidFill>
                  <a:latin typeface="Arial"/>
                </a:rPr>
                <a:t> AND </a:t>
              </a:r>
              <a:r>
                <a:rPr lang="es-ES_tradnl" sz="459" dirty="0" err="1">
                  <a:solidFill>
                    <a:srgbClr val="000000"/>
                  </a:solidFill>
                  <a:latin typeface="Arial"/>
                </a:rPr>
                <a:t>PROPRIETARY</a:t>
              </a:r>
              <a:endParaRPr lang="es-ES_tradnl" sz="459" dirty="0">
                <a:solidFill>
                  <a:srgbClr val="000000"/>
                </a:solidFill>
                <a:latin typeface="Arial"/>
              </a:endParaRPr>
            </a:p>
            <a:p>
              <a:pPr defTabSz="461927" eaLnBrk="0" hangingPunct="0"/>
              <a:r>
                <a:rPr lang="es-ES_tradnl" sz="459" dirty="0" err="1">
                  <a:solidFill>
                    <a:srgbClr val="000000"/>
                  </a:solidFill>
                  <a:latin typeface="Arial"/>
                </a:rPr>
                <a:t>Any</a:t>
              </a:r>
              <a:r>
                <a:rPr lang="es-ES_tradnl" sz="459" dirty="0">
                  <a:solidFill>
                    <a:srgbClr val="000000"/>
                  </a:solidFill>
                  <a:latin typeface="Arial"/>
                </a:rPr>
                <a:t> use of </a:t>
              </a:r>
              <a:r>
                <a:rPr lang="es-ES_tradnl" sz="459" dirty="0" err="1">
                  <a:solidFill>
                    <a:srgbClr val="000000"/>
                  </a:solidFill>
                  <a:latin typeface="Arial"/>
                </a:rPr>
                <a:t>this</a:t>
              </a:r>
              <a:r>
                <a:rPr lang="es-ES_tradnl" sz="459" dirty="0">
                  <a:solidFill>
                    <a:srgbClr val="000000"/>
                  </a:solidFill>
                  <a:latin typeface="Arial"/>
                </a:rPr>
                <a:t> material </a:t>
              </a:r>
              <a:r>
                <a:rPr lang="es-ES_tradnl" sz="459" dirty="0" err="1">
                  <a:solidFill>
                    <a:srgbClr val="000000"/>
                  </a:solidFill>
                  <a:latin typeface="Arial"/>
                </a:rPr>
                <a:t>without</a:t>
              </a:r>
              <a:r>
                <a:rPr lang="es-ES_tradnl" sz="459" dirty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459" dirty="0" err="1">
                  <a:solidFill>
                    <a:srgbClr val="000000"/>
                  </a:solidFill>
                  <a:latin typeface="Arial"/>
                </a:rPr>
                <a:t>specific</a:t>
              </a:r>
              <a:r>
                <a:rPr lang="es-ES_tradnl" sz="459" dirty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459" dirty="0" err="1">
                  <a:solidFill>
                    <a:srgbClr val="000000"/>
                  </a:solidFill>
                  <a:latin typeface="Arial"/>
                </a:rPr>
                <a:t>permission</a:t>
              </a:r>
              <a:r>
                <a:rPr lang="es-ES_tradnl" sz="459" dirty="0">
                  <a:solidFill>
                    <a:srgbClr val="000000"/>
                  </a:solidFill>
                  <a:latin typeface="Arial"/>
                </a:rPr>
                <a:t> of McKinsey &amp; Company </a:t>
              </a:r>
              <a:r>
                <a:rPr lang="es-ES_tradnl" sz="459" dirty="0" err="1">
                  <a:solidFill>
                    <a:srgbClr val="000000"/>
                  </a:solidFill>
                  <a:latin typeface="Arial"/>
                </a:rPr>
                <a:t>is</a:t>
              </a:r>
              <a:r>
                <a:rPr lang="es-ES_tradnl" sz="459" dirty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459" dirty="0" err="1">
                  <a:solidFill>
                    <a:srgbClr val="000000"/>
                  </a:solidFill>
                  <a:latin typeface="Arial"/>
                </a:rPr>
                <a:t>strictly</a:t>
              </a:r>
              <a:r>
                <a:rPr lang="es-ES_tradnl" sz="459" dirty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459" dirty="0" err="1">
                  <a:solidFill>
                    <a:srgbClr val="000000"/>
                  </a:solidFill>
                  <a:latin typeface="Arial"/>
                </a:rPr>
                <a:t>prohibited</a:t>
              </a:r>
              <a:endParaRPr lang="es-ES_tradnl" sz="459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4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03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4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03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6" name="Rectangle 45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034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49" name="Title Elements"/>
          <p:cNvGrpSpPr/>
          <p:nvPr/>
        </p:nvGrpSpPr>
        <p:grpSpPr>
          <a:xfrm>
            <a:off x="1" y="1"/>
            <a:ext cx="9902492" cy="6859620"/>
            <a:chOff x="0" y="0"/>
            <a:chExt cx="8958264" cy="6723063"/>
          </a:xfrm>
        </p:grpSpPr>
        <p:sp>
          <p:nvSpPr>
            <p:cNvPr id="50" name="Document type" hidden="1"/>
            <p:cNvSpPr txBox="1">
              <a:spLocks noChangeArrowheads="1"/>
            </p:cNvSpPr>
            <p:nvPr/>
          </p:nvSpPr>
          <p:spPr bwMode="auto">
            <a:xfrm>
              <a:off x="2640013" y="5025575"/>
              <a:ext cx="4935538" cy="121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803" dirty="0" err="1">
                  <a:solidFill>
                    <a:srgbClr val="000000"/>
                  </a:solidFill>
                  <a:latin typeface="Arial"/>
                </a:rPr>
                <a:t>Document</a:t>
              </a:r>
              <a:r>
                <a:rPr lang="es-ES_tradnl" sz="803" dirty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803" dirty="0" err="1">
                  <a:solidFill>
                    <a:srgbClr val="000000"/>
                  </a:solidFill>
                  <a:latin typeface="Arial"/>
                </a:rPr>
                <a:t>type</a:t>
              </a:r>
              <a:endParaRPr lang="es-ES_tradnl" sz="803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1" name="Date" hidden="1"/>
            <p:cNvSpPr txBox="1">
              <a:spLocks noChangeArrowheads="1"/>
            </p:cNvSpPr>
            <p:nvPr/>
          </p:nvSpPr>
          <p:spPr bwMode="auto">
            <a:xfrm>
              <a:off x="2640013" y="5199063"/>
              <a:ext cx="4935538" cy="121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803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52" name="Disclaimer" hidden="1"/>
            <p:cNvSpPr>
              <a:spLocks noChangeArrowheads="1"/>
            </p:cNvSpPr>
            <p:nvPr/>
          </p:nvSpPr>
          <p:spPr bwMode="auto">
            <a:xfrm>
              <a:off x="2640013" y="6001942"/>
              <a:ext cx="5121275" cy="138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461927" eaLnBrk="0" hangingPunct="0"/>
              <a:r>
                <a:rPr lang="es-ES_tradnl" sz="459" dirty="0" err="1">
                  <a:solidFill>
                    <a:srgbClr val="000000"/>
                  </a:solidFill>
                  <a:latin typeface="Arial"/>
                </a:rPr>
                <a:t>CONFIDENTIAL</a:t>
              </a:r>
              <a:r>
                <a:rPr lang="es-ES_tradnl" sz="459" dirty="0">
                  <a:solidFill>
                    <a:srgbClr val="000000"/>
                  </a:solidFill>
                  <a:latin typeface="Arial"/>
                </a:rPr>
                <a:t> AND </a:t>
              </a:r>
              <a:r>
                <a:rPr lang="es-ES_tradnl" sz="459" dirty="0" err="1">
                  <a:solidFill>
                    <a:srgbClr val="000000"/>
                  </a:solidFill>
                  <a:latin typeface="Arial"/>
                </a:rPr>
                <a:t>PROPRIETARY</a:t>
              </a:r>
              <a:endParaRPr lang="es-ES_tradnl" sz="459" dirty="0">
                <a:solidFill>
                  <a:srgbClr val="000000"/>
                </a:solidFill>
                <a:latin typeface="Arial"/>
              </a:endParaRPr>
            </a:p>
            <a:p>
              <a:pPr defTabSz="461927" eaLnBrk="0" hangingPunct="0"/>
              <a:r>
                <a:rPr lang="es-ES_tradnl" sz="459" dirty="0" err="1">
                  <a:solidFill>
                    <a:srgbClr val="000000"/>
                  </a:solidFill>
                  <a:latin typeface="Arial"/>
                </a:rPr>
                <a:t>Any</a:t>
              </a:r>
              <a:r>
                <a:rPr lang="es-ES_tradnl" sz="459" dirty="0">
                  <a:solidFill>
                    <a:srgbClr val="000000"/>
                  </a:solidFill>
                  <a:latin typeface="Arial"/>
                </a:rPr>
                <a:t> use of </a:t>
              </a:r>
              <a:r>
                <a:rPr lang="es-ES_tradnl" sz="459" dirty="0" err="1">
                  <a:solidFill>
                    <a:srgbClr val="000000"/>
                  </a:solidFill>
                  <a:latin typeface="Arial"/>
                </a:rPr>
                <a:t>this</a:t>
              </a:r>
              <a:r>
                <a:rPr lang="es-ES_tradnl" sz="459" dirty="0">
                  <a:solidFill>
                    <a:srgbClr val="000000"/>
                  </a:solidFill>
                  <a:latin typeface="Arial"/>
                </a:rPr>
                <a:t> material </a:t>
              </a:r>
              <a:r>
                <a:rPr lang="es-ES_tradnl" sz="459" dirty="0" err="1">
                  <a:solidFill>
                    <a:srgbClr val="000000"/>
                  </a:solidFill>
                  <a:latin typeface="Arial"/>
                </a:rPr>
                <a:t>without</a:t>
              </a:r>
              <a:r>
                <a:rPr lang="es-ES_tradnl" sz="459" dirty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459" dirty="0" err="1">
                  <a:solidFill>
                    <a:srgbClr val="000000"/>
                  </a:solidFill>
                  <a:latin typeface="Arial"/>
                </a:rPr>
                <a:t>specific</a:t>
              </a:r>
              <a:r>
                <a:rPr lang="es-ES_tradnl" sz="459" dirty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459" dirty="0" err="1">
                  <a:solidFill>
                    <a:srgbClr val="000000"/>
                  </a:solidFill>
                  <a:latin typeface="Arial"/>
                </a:rPr>
                <a:t>permission</a:t>
              </a:r>
              <a:r>
                <a:rPr lang="es-ES_tradnl" sz="459" dirty="0">
                  <a:solidFill>
                    <a:srgbClr val="000000"/>
                  </a:solidFill>
                  <a:latin typeface="Arial"/>
                </a:rPr>
                <a:t> of McKinsey &amp; Company </a:t>
              </a:r>
              <a:r>
                <a:rPr lang="es-ES_tradnl" sz="459" dirty="0" err="1">
                  <a:solidFill>
                    <a:srgbClr val="000000"/>
                  </a:solidFill>
                  <a:latin typeface="Arial"/>
                </a:rPr>
                <a:t>is</a:t>
              </a:r>
              <a:r>
                <a:rPr lang="es-ES_tradnl" sz="459" dirty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459" dirty="0" err="1">
                  <a:solidFill>
                    <a:srgbClr val="000000"/>
                  </a:solidFill>
                  <a:latin typeface="Arial"/>
                </a:rPr>
                <a:t>strictly</a:t>
              </a:r>
              <a:r>
                <a:rPr lang="es-ES_tradnl" sz="459" dirty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459" dirty="0" err="1">
                  <a:solidFill>
                    <a:srgbClr val="000000"/>
                  </a:solidFill>
                  <a:latin typeface="Arial"/>
                </a:rPr>
                <a:t>prohibited</a:t>
              </a:r>
              <a:endParaRPr lang="es-ES_tradnl" sz="459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3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03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5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03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7" name="Rectangle 56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034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61" name="Title Elements"/>
          <p:cNvGrpSpPr/>
          <p:nvPr userDrawn="1"/>
        </p:nvGrpSpPr>
        <p:grpSpPr>
          <a:xfrm>
            <a:off x="1" y="1"/>
            <a:ext cx="9902492" cy="6859620"/>
            <a:chOff x="0" y="0"/>
            <a:chExt cx="8958264" cy="6723063"/>
          </a:xfrm>
        </p:grpSpPr>
        <p:sp>
          <p:nvSpPr>
            <p:cNvPr id="62" name="Document type" hidden="1"/>
            <p:cNvSpPr txBox="1">
              <a:spLocks noChangeArrowheads="1"/>
            </p:cNvSpPr>
            <p:nvPr/>
          </p:nvSpPr>
          <p:spPr bwMode="auto">
            <a:xfrm>
              <a:off x="2640013" y="5025575"/>
              <a:ext cx="4935538" cy="121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803" dirty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63" name="Date" hidden="1"/>
            <p:cNvSpPr txBox="1">
              <a:spLocks noChangeArrowheads="1"/>
            </p:cNvSpPr>
            <p:nvPr/>
          </p:nvSpPr>
          <p:spPr bwMode="auto">
            <a:xfrm>
              <a:off x="2640013" y="5199063"/>
              <a:ext cx="4935538" cy="121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803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64" name="Disclaimer" hidden="1"/>
            <p:cNvSpPr>
              <a:spLocks noChangeArrowheads="1"/>
            </p:cNvSpPr>
            <p:nvPr/>
          </p:nvSpPr>
          <p:spPr bwMode="auto">
            <a:xfrm>
              <a:off x="2640013" y="6001942"/>
              <a:ext cx="5121275" cy="138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461927" eaLnBrk="0" hangingPunct="0"/>
              <a:r>
                <a:rPr lang="en-US" sz="459" dirty="0">
                  <a:solidFill>
                    <a:srgbClr val="000000"/>
                  </a:solidFill>
                  <a:latin typeface="Arial"/>
                </a:rPr>
                <a:t>CONFIDENTIAL AND PROPRIETARY</a:t>
              </a:r>
            </a:p>
            <a:p>
              <a:pPr defTabSz="461927" eaLnBrk="0" hangingPunct="0"/>
              <a:r>
                <a:rPr lang="en-US" sz="459" dirty="0">
                  <a:solidFill>
                    <a:srgbClr val="000000"/>
                  </a:solidFill>
                  <a:latin typeface="Arial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65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3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3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7" name="Rectangle 66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34" dirty="0">
                <a:solidFill>
                  <a:srgbClr val="000000"/>
                </a:solidFill>
              </a:endParaRPr>
            </a:p>
          </p:txBody>
        </p:sp>
      </p:grpSp>
      <p:pic>
        <p:nvPicPr>
          <p:cNvPr id="68" name="Imagen 67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1868" y="487388"/>
            <a:ext cx="1872255" cy="1311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8758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ció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ectangle 53"/>
          <p:cNvSpPr/>
          <p:nvPr userDrawn="1"/>
        </p:nvSpPr>
        <p:spPr>
          <a:xfrm flipH="1">
            <a:off x="2" y="2285784"/>
            <a:ext cx="9911266" cy="457383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034" dirty="0">
              <a:solidFill>
                <a:srgbClr val="000000"/>
              </a:solidFill>
            </a:endParaRPr>
          </a:p>
        </p:txBody>
      </p:sp>
      <p:pic>
        <p:nvPicPr>
          <p:cNvPr id="5" name="Picture 36" descr="http://inteligenciapetrolera.com.co/inicio/wp-content/uploads/2015/05/oleoductos-Colombia.jpg"/>
          <p:cNvPicPr>
            <a:picLocks noChangeAspect="1" noChangeArrowheads="1"/>
          </p:cNvPicPr>
          <p:nvPr userDrawn="1"/>
        </p:nvPicPr>
        <p:blipFill rotWithShape="1">
          <a:blip r:embed="rId3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" y="0"/>
            <a:ext cx="9911264" cy="22857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2923550" y="3514460"/>
            <a:ext cx="6478679" cy="369332"/>
          </a:xfrm>
          <a:prstGeom prst="rect">
            <a:avLst/>
          </a:prstGeom>
        </p:spPr>
        <p:txBody>
          <a:bodyPr/>
          <a:lstStyle>
            <a:lvl1pPr>
              <a:defRPr sz="2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_tradnl" noProof="0" dirty="0"/>
              <a:t>Título de la Sección (Arial, 24, Azul Oscuro)</a:t>
            </a:r>
          </a:p>
        </p:txBody>
      </p:sp>
      <p:sp>
        <p:nvSpPr>
          <p:cNvPr id="8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87983" y="6419409"/>
            <a:ext cx="6478679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2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_tradnl" noProof="0" dirty="0"/>
              <a:t>Título de la Presentación (Arial, 16, Azul Oscuro)</a:t>
            </a:r>
          </a:p>
        </p:txBody>
      </p:sp>
      <p:grpSp>
        <p:nvGrpSpPr>
          <p:cNvPr id="9" name="Title Elements"/>
          <p:cNvGrpSpPr/>
          <p:nvPr userDrawn="1"/>
        </p:nvGrpSpPr>
        <p:grpSpPr>
          <a:xfrm>
            <a:off x="1" y="1"/>
            <a:ext cx="9902492" cy="6859620"/>
            <a:chOff x="0" y="0"/>
            <a:chExt cx="8958264" cy="6723063"/>
          </a:xfrm>
        </p:grpSpPr>
        <p:sp>
          <p:nvSpPr>
            <p:cNvPr id="10" name="Document type" hidden="1"/>
            <p:cNvSpPr txBox="1">
              <a:spLocks noChangeArrowheads="1"/>
            </p:cNvSpPr>
            <p:nvPr/>
          </p:nvSpPr>
          <p:spPr bwMode="auto">
            <a:xfrm>
              <a:off x="2640013" y="5487309"/>
              <a:ext cx="4935538" cy="121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803" dirty="0" err="1">
                  <a:solidFill>
                    <a:srgbClr val="DCEBF4"/>
                  </a:solidFill>
                  <a:latin typeface="Arial"/>
                </a:rPr>
                <a:t>Document</a:t>
              </a:r>
              <a:r>
                <a:rPr lang="es-ES_tradnl" sz="803" dirty="0">
                  <a:solidFill>
                    <a:srgbClr val="DCEBF4"/>
                  </a:solidFill>
                  <a:latin typeface="Arial"/>
                </a:rPr>
                <a:t> </a:t>
              </a:r>
              <a:r>
                <a:rPr lang="es-ES_tradnl" sz="803" dirty="0" err="1">
                  <a:solidFill>
                    <a:srgbClr val="DCEBF4"/>
                  </a:solidFill>
                  <a:latin typeface="Arial"/>
                </a:rPr>
                <a:t>type</a:t>
              </a:r>
              <a:endParaRPr lang="es-ES_tradnl" sz="803" dirty="0">
                <a:solidFill>
                  <a:srgbClr val="DCEBF4"/>
                </a:solidFill>
                <a:latin typeface="Arial"/>
              </a:endParaRPr>
            </a:p>
          </p:txBody>
        </p:sp>
        <p:sp>
          <p:nvSpPr>
            <p:cNvPr id="11" name="Date" hidden="1"/>
            <p:cNvSpPr txBox="1">
              <a:spLocks noChangeArrowheads="1"/>
            </p:cNvSpPr>
            <p:nvPr/>
          </p:nvSpPr>
          <p:spPr bwMode="auto">
            <a:xfrm>
              <a:off x="2640013" y="5660798"/>
              <a:ext cx="4935538" cy="121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803" dirty="0">
                  <a:solidFill>
                    <a:srgbClr val="DCEBF4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2" name="Disclaimer" hidden="1"/>
            <p:cNvSpPr>
              <a:spLocks noChangeArrowheads="1"/>
            </p:cNvSpPr>
            <p:nvPr/>
          </p:nvSpPr>
          <p:spPr bwMode="auto">
            <a:xfrm>
              <a:off x="2640013" y="6189267"/>
              <a:ext cx="5121275" cy="138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461927" eaLnBrk="0" hangingPunct="0"/>
              <a:r>
                <a:rPr lang="es-ES_tradnl" sz="459" dirty="0" err="1">
                  <a:solidFill>
                    <a:srgbClr val="DCEBF4"/>
                  </a:solidFill>
                  <a:latin typeface="Arial"/>
                </a:rPr>
                <a:t>CONFIDENTIAL</a:t>
              </a:r>
              <a:r>
                <a:rPr lang="es-ES_tradnl" sz="459" dirty="0">
                  <a:solidFill>
                    <a:srgbClr val="DCEBF4"/>
                  </a:solidFill>
                  <a:latin typeface="Arial"/>
                </a:rPr>
                <a:t> AND </a:t>
              </a:r>
              <a:r>
                <a:rPr lang="es-ES_tradnl" sz="459" dirty="0" err="1">
                  <a:solidFill>
                    <a:srgbClr val="DCEBF4"/>
                  </a:solidFill>
                  <a:latin typeface="Arial"/>
                </a:rPr>
                <a:t>PROPRIETARY</a:t>
              </a:r>
              <a:endParaRPr lang="es-ES_tradnl" sz="459" dirty="0">
                <a:solidFill>
                  <a:srgbClr val="DCEBF4"/>
                </a:solidFill>
                <a:latin typeface="Arial"/>
              </a:endParaRPr>
            </a:p>
            <a:p>
              <a:pPr defTabSz="461927" eaLnBrk="0" hangingPunct="0"/>
              <a:r>
                <a:rPr lang="es-ES_tradnl" sz="459" dirty="0" err="1">
                  <a:solidFill>
                    <a:srgbClr val="DCEBF4"/>
                  </a:solidFill>
                  <a:latin typeface="Arial"/>
                </a:rPr>
                <a:t>Any</a:t>
              </a:r>
              <a:r>
                <a:rPr lang="es-ES_tradnl" sz="459" dirty="0">
                  <a:solidFill>
                    <a:srgbClr val="DCEBF4"/>
                  </a:solidFill>
                  <a:latin typeface="Arial"/>
                </a:rPr>
                <a:t> use of </a:t>
              </a:r>
              <a:r>
                <a:rPr lang="es-ES_tradnl" sz="459" dirty="0" err="1">
                  <a:solidFill>
                    <a:srgbClr val="DCEBF4"/>
                  </a:solidFill>
                  <a:latin typeface="Arial"/>
                </a:rPr>
                <a:t>this</a:t>
              </a:r>
              <a:r>
                <a:rPr lang="es-ES_tradnl" sz="459" dirty="0">
                  <a:solidFill>
                    <a:srgbClr val="DCEBF4"/>
                  </a:solidFill>
                  <a:latin typeface="Arial"/>
                </a:rPr>
                <a:t> material </a:t>
              </a:r>
              <a:r>
                <a:rPr lang="es-ES_tradnl" sz="459" dirty="0" err="1">
                  <a:solidFill>
                    <a:srgbClr val="DCEBF4"/>
                  </a:solidFill>
                  <a:latin typeface="Arial"/>
                </a:rPr>
                <a:t>without</a:t>
              </a:r>
              <a:r>
                <a:rPr lang="es-ES_tradnl" sz="459" dirty="0">
                  <a:solidFill>
                    <a:srgbClr val="DCEBF4"/>
                  </a:solidFill>
                  <a:latin typeface="Arial"/>
                </a:rPr>
                <a:t> </a:t>
              </a:r>
              <a:r>
                <a:rPr lang="es-ES_tradnl" sz="459" dirty="0" err="1">
                  <a:solidFill>
                    <a:srgbClr val="DCEBF4"/>
                  </a:solidFill>
                  <a:latin typeface="Arial"/>
                </a:rPr>
                <a:t>specific</a:t>
              </a:r>
              <a:r>
                <a:rPr lang="es-ES_tradnl" sz="459" dirty="0">
                  <a:solidFill>
                    <a:srgbClr val="DCEBF4"/>
                  </a:solidFill>
                  <a:latin typeface="Arial"/>
                </a:rPr>
                <a:t> </a:t>
              </a:r>
              <a:r>
                <a:rPr lang="es-ES_tradnl" sz="459" dirty="0" err="1">
                  <a:solidFill>
                    <a:srgbClr val="DCEBF4"/>
                  </a:solidFill>
                  <a:latin typeface="Arial"/>
                </a:rPr>
                <a:t>permission</a:t>
              </a:r>
              <a:r>
                <a:rPr lang="es-ES_tradnl" sz="459" dirty="0">
                  <a:solidFill>
                    <a:srgbClr val="DCEBF4"/>
                  </a:solidFill>
                  <a:latin typeface="Arial"/>
                </a:rPr>
                <a:t> of McKinsey &amp; Company </a:t>
              </a:r>
              <a:r>
                <a:rPr lang="es-ES_tradnl" sz="459" dirty="0" err="1">
                  <a:solidFill>
                    <a:srgbClr val="DCEBF4"/>
                  </a:solidFill>
                  <a:latin typeface="Arial"/>
                </a:rPr>
                <a:t>is</a:t>
              </a:r>
              <a:r>
                <a:rPr lang="es-ES_tradnl" sz="459" dirty="0">
                  <a:solidFill>
                    <a:srgbClr val="DCEBF4"/>
                  </a:solidFill>
                  <a:latin typeface="Arial"/>
                </a:rPr>
                <a:t> </a:t>
              </a:r>
              <a:r>
                <a:rPr lang="es-ES_tradnl" sz="459" dirty="0" err="1">
                  <a:solidFill>
                    <a:srgbClr val="DCEBF4"/>
                  </a:solidFill>
                  <a:latin typeface="Arial"/>
                </a:rPr>
                <a:t>strictly</a:t>
              </a:r>
              <a:r>
                <a:rPr lang="es-ES_tradnl" sz="459" dirty="0">
                  <a:solidFill>
                    <a:srgbClr val="DCEBF4"/>
                  </a:solidFill>
                  <a:latin typeface="Arial"/>
                </a:rPr>
                <a:t> </a:t>
              </a:r>
              <a:r>
                <a:rPr lang="es-ES_tradnl" sz="459" dirty="0" err="1">
                  <a:solidFill>
                    <a:srgbClr val="DCEBF4"/>
                  </a:solidFill>
                  <a:latin typeface="Arial"/>
                </a:rPr>
                <a:t>prohibited</a:t>
              </a:r>
              <a:endParaRPr lang="es-ES_tradnl" sz="459" dirty="0">
                <a:solidFill>
                  <a:srgbClr val="DCEBF4"/>
                </a:solidFill>
                <a:latin typeface="Arial"/>
              </a:endParaRPr>
            </a:p>
          </p:txBody>
        </p:sp>
        <p:sp>
          <p:nvSpPr>
            <p:cNvPr id="13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03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03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5" name="Rectangle 42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034" dirty="0">
                <a:solidFill>
                  <a:srgbClr val="000000"/>
                </a:solidFill>
              </a:endParaRPr>
            </a:p>
          </p:txBody>
        </p:sp>
      </p:grpSp>
      <p:sp>
        <p:nvSpPr>
          <p:cNvPr id="16" name="Rectangle 87"/>
          <p:cNvSpPr>
            <a:spLocks noChangeArrowheads="1"/>
          </p:cNvSpPr>
          <p:nvPr userDrawn="1"/>
        </p:nvSpPr>
        <p:spPr bwMode="auto">
          <a:xfrm rot="16200000">
            <a:off x="1658710" y="3912739"/>
            <a:ext cx="1230716" cy="302209"/>
          </a:xfrm>
          <a:prstGeom prst="rect">
            <a:avLst/>
          </a:prstGeom>
          <a:solidFill>
            <a:schemeClr val="tx2">
              <a:alpha val="28000"/>
            </a:schemeClr>
          </a:solidFill>
          <a:ln>
            <a:noFill/>
          </a:ln>
        </p:spPr>
        <p:txBody>
          <a:bodyPr vert="horz" wrap="square" lIns="52480" tIns="26240" rIns="52480" bIns="26240" numCol="1" anchor="t" anchorCtr="0" compatLnSpc="1">
            <a:prstTxWarp prst="textNoShape">
              <a:avLst/>
            </a:prstTxWarp>
          </a:bodyPr>
          <a:lstStyle/>
          <a:p>
            <a:pPr lvl="0"/>
            <a:endParaRPr lang="es-ES_tradnl" sz="1034" dirty="0">
              <a:solidFill>
                <a:srgbClr val="000000"/>
              </a:solidFill>
            </a:endParaRPr>
          </a:p>
        </p:txBody>
      </p:sp>
      <p:sp>
        <p:nvSpPr>
          <p:cNvPr id="17" name="Freeform 88"/>
          <p:cNvSpPr>
            <a:spLocks noEditPoints="1"/>
          </p:cNvSpPr>
          <p:nvPr userDrawn="1"/>
        </p:nvSpPr>
        <p:spPr bwMode="auto">
          <a:xfrm rot="16200000">
            <a:off x="205583" y="2623616"/>
            <a:ext cx="608837" cy="629253"/>
          </a:xfrm>
          <a:custGeom>
            <a:avLst/>
            <a:gdLst>
              <a:gd name="T0" fmla="*/ 176 w 201"/>
              <a:gd name="T1" fmla="*/ 16 h 192"/>
              <a:gd name="T2" fmla="*/ 97 w 201"/>
              <a:gd name="T3" fmla="*/ 16 h 192"/>
              <a:gd name="T4" fmla="*/ 17 w 201"/>
              <a:gd name="T5" fmla="*/ 92 h 192"/>
              <a:gd name="T6" fmla="*/ 17 w 201"/>
              <a:gd name="T7" fmla="*/ 167 h 192"/>
              <a:gd name="T8" fmla="*/ 0 w 201"/>
              <a:gd name="T9" fmla="*/ 167 h 192"/>
              <a:gd name="T10" fmla="*/ 0 w 201"/>
              <a:gd name="T11" fmla="*/ 192 h 192"/>
              <a:gd name="T12" fmla="*/ 134 w 201"/>
              <a:gd name="T13" fmla="*/ 192 h 192"/>
              <a:gd name="T14" fmla="*/ 134 w 201"/>
              <a:gd name="T15" fmla="*/ 167 h 192"/>
              <a:gd name="T16" fmla="*/ 117 w 201"/>
              <a:gd name="T17" fmla="*/ 167 h 192"/>
              <a:gd name="T18" fmla="*/ 117 w 201"/>
              <a:gd name="T19" fmla="*/ 136 h 192"/>
              <a:gd name="T20" fmla="*/ 142 w 201"/>
              <a:gd name="T21" fmla="*/ 108 h 192"/>
              <a:gd name="T22" fmla="*/ 176 w 201"/>
              <a:gd name="T23" fmla="*/ 108 h 192"/>
              <a:gd name="T24" fmla="*/ 176 w 201"/>
              <a:gd name="T25" fmla="*/ 125 h 192"/>
              <a:gd name="T26" fmla="*/ 201 w 201"/>
              <a:gd name="T27" fmla="*/ 125 h 192"/>
              <a:gd name="T28" fmla="*/ 201 w 201"/>
              <a:gd name="T29" fmla="*/ 0 h 192"/>
              <a:gd name="T30" fmla="*/ 176 w 201"/>
              <a:gd name="T31" fmla="*/ 0 h 192"/>
              <a:gd name="T32" fmla="*/ 176 w 201"/>
              <a:gd name="T33" fmla="*/ 16 h 192"/>
              <a:gd name="T34" fmla="*/ 176 w 201"/>
              <a:gd name="T35" fmla="*/ 16 h 192"/>
              <a:gd name="T36" fmla="*/ 176 w 201"/>
              <a:gd name="T37" fmla="*/ 16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01" h="192">
                <a:moveTo>
                  <a:pt x="176" y="16"/>
                </a:moveTo>
                <a:cubicBezTo>
                  <a:pt x="97" y="16"/>
                  <a:pt x="97" y="16"/>
                  <a:pt x="97" y="16"/>
                </a:cubicBezTo>
                <a:cubicBezTo>
                  <a:pt x="17" y="16"/>
                  <a:pt x="17" y="92"/>
                  <a:pt x="17" y="92"/>
                </a:cubicBezTo>
                <a:cubicBezTo>
                  <a:pt x="17" y="167"/>
                  <a:pt x="17" y="167"/>
                  <a:pt x="17" y="167"/>
                </a:cubicBezTo>
                <a:cubicBezTo>
                  <a:pt x="0" y="167"/>
                  <a:pt x="0" y="167"/>
                  <a:pt x="0" y="167"/>
                </a:cubicBezTo>
                <a:cubicBezTo>
                  <a:pt x="0" y="192"/>
                  <a:pt x="0" y="192"/>
                  <a:pt x="0" y="192"/>
                </a:cubicBezTo>
                <a:cubicBezTo>
                  <a:pt x="134" y="192"/>
                  <a:pt x="134" y="192"/>
                  <a:pt x="134" y="192"/>
                </a:cubicBezTo>
                <a:cubicBezTo>
                  <a:pt x="134" y="167"/>
                  <a:pt x="134" y="167"/>
                  <a:pt x="134" y="167"/>
                </a:cubicBezTo>
                <a:cubicBezTo>
                  <a:pt x="117" y="167"/>
                  <a:pt x="117" y="167"/>
                  <a:pt x="117" y="167"/>
                </a:cubicBezTo>
                <a:cubicBezTo>
                  <a:pt x="117" y="136"/>
                  <a:pt x="117" y="136"/>
                  <a:pt x="117" y="136"/>
                </a:cubicBezTo>
                <a:cubicBezTo>
                  <a:pt x="117" y="136"/>
                  <a:pt x="115" y="108"/>
                  <a:pt x="142" y="108"/>
                </a:cubicBezTo>
                <a:cubicBezTo>
                  <a:pt x="176" y="108"/>
                  <a:pt x="176" y="108"/>
                  <a:pt x="176" y="108"/>
                </a:cubicBezTo>
                <a:cubicBezTo>
                  <a:pt x="176" y="125"/>
                  <a:pt x="176" y="125"/>
                  <a:pt x="176" y="125"/>
                </a:cubicBezTo>
                <a:cubicBezTo>
                  <a:pt x="201" y="125"/>
                  <a:pt x="201" y="125"/>
                  <a:pt x="201" y="125"/>
                </a:cubicBezTo>
                <a:cubicBezTo>
                  <a:pt x="201" y="0"/>
                  <a:pt x="201" y="0"/>
                  <a:pt x="201" y="0"/>
                </a:cubicBezTo>
                <a:cubicBezTo>
                  <a:pt x="176" y="0"/>
                  <a:pt x="176" y="0"/>
                  <a:pt x="176" y="0"/>
                </a:cubicBezTo>
                <a:lnTo>
                  <a:pt x="176" y="16"/>
                </a:lnTo>
                <a:close/>
                <a:moveTo>
                  <a:pt x="176" y="16"/>
                </a:moveTo>
                <a:cubicBezTo>
                  <a:pt x="176" y="16"/>
                  <a:pt x="176" y="16"/>
                  <a:pt x="176" y="16"/>
                </a:cubicBezTo>
              </a:path>
            </a:pathLst>
          </a:custGeom>
          <a:solidFill>
            <a:schemeClr val="tx2">
              <a:alpha val="28000"/>
            </a:schemeClr>
          </a:solidFill>
          <a:ln>
            <a:noFill/>
          </a:ln>
        </p:spPr>
        <p:txBody>
          <a:bodyPr vert="horz" wrap="square" lIns="52480" tIns="26240" rIns="52480" bIns="26240" numCol="1" anchor="t" anchorCtr="0" compatLnSpc="1">
            <a:prstTxWarp prst="textNoShape">
              <a:avLst/>
            </a:prstTxWarp>
          </a:bodyPr>
          <a:lstStyle/>
          <a:p>
            <a:pPr lvl="0"/>
            <a:endParaRPr lang="es-ES_tradnl" sz="1034" dirty="0">
              <a:solidFill>
                <a:srgbClr val="000000"/>
              </a:solidFill>
            </a:endParaRPr>
          </a:p>
        </p:txBody>
      </p:sp>
      <p:sp>
        <p:nvSpPr>
          <p:cNvPr id="18" name="Rectangle 86"/>
          <p:cNvSpPr>
            <a:spLocks noChangeArrowheads="1"/>
          </p:cNvSpPr>
          <p:nvPr userDrawn="1"/>
        </p:nvSpPr>
        <p:spPr bwMode="auto">
          <a:xfrm rot="5400000">
            <a:off x="1184918" y="2530311"/>
            <a:ext cx="303144" cy="1023729"/>
          </a:xfrm>
          <a:prstGeom prst="rect">
            <a:avLst/>
          </a:prstGeom>
          <a:solidFill>
            <a:schemeClr val="tx2">
              <a:alpha val="28000"/>
            </a:schemeClr>
          </a:solidFill>
          <a:ln>
            <a:noFill/>
          </a:ln>
        </p:spPr>
        <p:txBody>
          <a:bodyPr vert="horz" wrap="square" lIns="52480" tIns="26240" rIns="52480" bIns="26240" numCol="1" anchor="t" anchorCtr="0" compatLnSpc="1">
            <a:prstTxWarp prst="textNoShape">
              <a:avLst/>
            </a:prstTxWarp>
          </a:bodyPr>
          <a:lstStyle/>
          <a:p>
            <a:pPr lvl="0"/>
            <a:endParaRPr lang="es-ES_tradnl" sz="1034" dirty="0">
              <a:solidFill>
                <a:srgbClr val="000000"/>
              </a:solidFill>
            </a:endParaRPr>
          </a:p>
        </p:txBody>
      </p:sp>
      <p:sp>
        <p:nvSpPr>
          <p:cNvPr id="19" name="Freeform 88"/>
          <p:cNvSpPr>
            <a:spLocks noEditPoints="1"/>
          </p:cNvSpPr>
          <p:nvPr userDrawn="1"/>
        </p:nvSpPr>
        <p:spPr bwMode="auto">
          <a:xfrm rot="5400000">
            <a:off x="1858566" y="2829445"/>
            <a:ext cx="608837" cy="629253"/>
          </a:xfrm>
          <a:custGeom>
            <a:avLst/>
            <a:gdLst>
              <a:gd name="T0" fmla="*/ 176 w 201"/>
              <a:gd name="T1" fmla="*/ 16 h 192"/>
              <a:gd name="T2" fmla="*/ 97 w 201"/>
              <a:gd name="T3" fmla="*/ 16 h 192"/>
              <a:gd name="T4" fmla="*/ 17 w 201"/>
              <a:gd name="T5" fmla="*/ 92 h 192"/>
              <a:gd name="T6" fmla="*/ 17 w 201"/>
              <a:gd name="T7" fmla="*/ 167 h 192"/>
              <a:gd name="T8" fmla="*/ 0 w 201"/>
              <a:gd name="T9" fmla="*/ 167 h 192"/>
              <a:gd name="T10" fmla="*/ 0 w 201"/>
              <a:gd name="T11" fmla="*/ 192 h 192"/>
              <a:gd name="T12" fmla="*/ 134 w 201"/>
              <a:gd name="T13" fmla="*/ 192 h 192"/>
              <a:gd name="T14" fmla="*/ 134 w 201"/>
              <a:gd name="T15" fmla="*/ 167 h 192"/>
              <a:gd name="T16" fmla="*/ 117 w 201"/>
              <a:gd name="T17" fmla="*/ 167 h 192"/>
              <a:gd name="T18" fmla="*/ 117 w 201"/>
              <a:gd name="T19" fmla="*/ 136 h 192"/>
              <a:gd name="T20" fmla="*/ 142 w 201"/>
              <a:gd name="T21" fmla="*/ 108 h 192"/>
              <a:gd name="T22" fmla="*/ 176 w 201"/>
              <a:gd name="T23" fmla="*/ 108 h 192"/>
              <a:gd name="T24" fmla="*/ 176 w 201"/>
              <a:gd name="T25" fmla="*/ 125 h 192"/>
              <a:gd name="T26" fmla="*/ 201 w 201"/>
              <a:gd name="T27" fmla="*/ 125 h 192"/>
              <a:gd name="T28" fmla="*/ 201 w 201"/>
              <a:gd name="T29" fmla="*/ 0 h 192"/>
              <a:gd name="T30" fmla="*/ 176 w 201"/>
              <a:gd name="T31" fmla="*/ 0 h 192"/>
              <a:gd name="T32" fmla="*/ 176 w 201"/>
              <a:gd name="T33" fmla="*/ 16 h 192"/>
              <a:gd name="T34" fmla="*/ 176 w 201"/>
              <a:gd name="T35" fmla="*/ 16 h 192"/>
              <a:gd name="T36" fmla="*/ 176 w 201"/>
              <a:gd name="T37" fmla="*/ 16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01" h="192">
                <a:moveTo>
                  <a:pt x="176" y="16"/>
                </a:moveTo>
                <a:cubicBezTo>
                  <a:pt x="97" y="16"/>
                  <a:pt x="97" y="16"/>
                  <a:pt x="97" y="16"/>
                </a:cubicBezTo>
                <a:cubicBezTo>
                  <a:pt x="17" y="16"/>
                  <a:pt x="17" y="92"/>
                  <a:pt x="17" y="92"/>
                </a:cubicBezTo>
                <a:cubicBezTo>
                  <a:pt x="17" y="167"/>
                  <a:pt x="17" y="167"/>
                  <a:pt x="17" y="167"/>
                </a:cubicBezTo>
                <a:cubicBezTo>
                  <a:pt x="0" y="167"/>
                  <a:pt x="0" y="167"/>
                  <a:pt x="0" y="167"/>
                </a:cubicBezTo>
                <a:cubicBezTo>
                  <a:pt x="0" y="192"/>
                  <a:pt x="0" y="192"/>
                  <a:pt x="0" y="192"/>
                </a:cubicBezTo>
                <a:cubicBezTo>
                  <a:pt x="134" y="192"/>
                  <a:pt x="134" y="192"/>
                  <a:pt x="134" y="192"/>
                </a:cubicBezTo>
                <a:cubicBezTo>
                  <a:pt x="134" y="167"/>
                  <a:pt x="134" y="167"/>
                  <a:pt x="134" y="167"/>
                </a:cubicBezTo>
                <a:cubicBezTo>
                  <a:pt x="117" y="167"/>
                  <a:pt x="117" y="167"/>
                  <a:pt x="117" y="167"/>
                </a:cubicBezTo>
                <a:cubicBezTo>
                  <a:pt x="117" y="136"/>
                  <a:pt x="117" y="136"/>
                  <a:pt x="117" y="136"/>
                </a:cubicBezTo>
                <a:cubicBezTo>
                  <a:pt x="117" y="136"/>
                  <a:pt x="115" y="108"/>
                  <a:pt x="142" y="108"/>
                </a:cubicBezTo>
                <a:cubicBezTo>
                  <a:pt x="176" y="108"/>
                  <a:pt x="176" y="108"/>
                  <a:pt x="176" y="108"/>
                </a:cubicBezTo>
                <a:cubicBezTo>
                  <a:pt x="176" y="125"/>
                  <a:pt x="176" y="125"/>
                  <a:pt x="176" y="125"/>
                </a:cubicBezTo>
                <a:cubicBezTo>
                  <a:pt x="201" y="125"/>
                  <a:pt x="201" y="125"/>
                  <a:pt x="201" y="125"/>
                </a:cubicBezTo>
                <a:cubicBezTo>
                  <a:pt x="201" y="0"/>
                  <a:pt x="201" y="0"/>
                  <a:pt x="201" y="0"/>
                </a:cubicBezTo>
                <a:cubicBezTo>
                  <a:pt x="176" y="0"/>
                  <a:pt x="176" y="0"/>
                  <a:pt x="176" y="0"/>
                </a:cubicBezTo>
                <a:lnTo>
                  <a:pt x="176" y="16"/>
                </a:lnTo>
                <a:close/>
                <a:moveTo>
                  <a:pt x="176" y="16"/>
                </a:moveTo>
                <a:cubicBezTo>
                  <a:pt x="176" y="16"/>
                  <a:pt x="176" y="16"/>
                  <a:pt x="176" y="16"/>
                </a:cubicBezTo>
              </a:path>
            </a:pathLst>
          </a:custGeom>
          <a:solidFill>
            <a:schemeClr val="tx2">
              <a:alpha val="28000"/>
            </a:schemeClr>
          </a:solidFill>
          <a:ln>
            <a:noFill/>
          </a:ln>
        </p:spPr>
        <p:txBody>
          <a:bodyPr vert="horz" wrap="square" lIns="52480" tIns="26240" rIns="52480" bIns="26240" numCol="1" anchor="t" anchorCtr="0" compatLnSpc="1">
            <a:prstTxWarp prst="textNoShape">
              <a:avLst/>
            </a:prstTxWarp>
          </a:bodyPr>
          <a:lstStyle/>
          <a:p>
            <a:pPr lvl="0"/>
            <a:endParaRPr lang="es-ES_tradnl" sz="1034" dirty="0">
              <a:solidFill>
                <a:srgbClr val="000000"/>
              </a:solidFill>
            </a:endParaRPr>
          </a:p>
        </p:txBody>
      </p:sp>
      <p:sp>
        <p:nvSpPr>
          <p:cNvPr id="20" name="Rectangle 87"/>
          <p:cNvSpPr>
            <a:spLocks noChangeArrowheads="1"/>
          </p:cNvSpPr>
          <p:nvPr userDrawn="1"/>
        </p:nvSpPr>
        <p:spPr bwMode="auto">
          <a:xfrm rot="16200000">
            <a:off x="224054" y="2307727"/>
            <a:ext cx="349980" cy="302209"/>
          </a:xfrm>
          <a:prstGeom prst="rect">
            <a:avLst/>
          </a:prstGeom>
          <a:solidFill>
            <a:schemeClr val="tx2">
              <a:alpha val="28000"/>
            </a:schemeClr>
          </a:solidFill>
          <a:ln>
            <a:noFill/>
          </a:ln>
        </p:spPr>
        <p:txBody>
          <a:bodyPr vert="horz" wrap="square" lIns="52480" tIns="26240" rIns="52480" bIns="26240" numCol="1" anchor="t" anchorCtr="0" compatLnSpc="1">
            <a:prstTxWarp prst="textNoShape">
              <a:avLst/>
            </a:prstTxWarp>
          </a:bodyPr>
          <a:lstStyle/>
          <a:p>
            <a:endParaRPr lang="es-ES_tradnl" sz="1034" dirty="0">
              <a:solidFill>
                <a:srgbClr val="000000"/>
              </a:solidFill>
            </a:endParaRPr>
          </a:p>
        </p:txBody>
      </p:sp>
      <p:sp>
        <p:nvSpPr>
          <p:cNvPr id="22" name="Rectangle 87"/>
          <p:cNvSpPr>
            <a:spLocks noChangeArrowheads="1"/>
          </p:cNvSpPr>
          <p:nvPr userDrawn="1"/>
        </p:nvSpPr>
        <p:spPr bwMode="auto">
          <a:xfrm flipH="1">
            <a:off x="2714306" y="4932677"/>
            <a:ext cx="7188188" cy="278945"/>
          </a:xfrm>
          <a:prstGeom prst="rect">
            <a:avLst/>
          </a:prstGeom>
          <a:solidFill>
            <a:schemeClr val="tx2">
              <a:alpha val="28000"/>
            </a:schemeClr>
          </a:solidFill>
          <a:ln>
            <a:noFill/>
          </a:ln>
        </p:spPr>
        <p:txBody>
          <a:bodyPr vert="horz" wrap="square" lIns="52480" tIns="26240" rIns="52480" bIns="26240" numCol="1" anchor="t" anchorCtr="0" compatLnSpc="1">
            <a:prstTxWarp prst="textNoShape">
              <a:avLst/>
            </a:prstTxWarp>
          </a:bodyPr>
          <a:lstStyle/>
          <a:p>
            <a:pPr lvl="0"/>
            <a:endParaRPr lang="es-ES_tradnl" sz="1034" dirty="0">
              <a:solidFill>
                <a:srgbClr val="000000"/>
              </a:solidFill>
            </a:endParaRPr>
          </a:p>
        </p:txBody>
      </p:sp>
      <p:sp>
        <p:nvSpPr>
          <p:cNvPr id="23" name="Freeform 88"/>
          <p:cNvSpPr>
            <a:spLocks noEditPoints="1"/>
          </p:cNvSpPr>
          <p:nvPr userDrawn="1"/>
        </p:nvSpPr>
        <p:spPr bwMode="auto">
          <a:xfrm rot="10800000" flipH="1">
            <a:off x="2054695" y="4679207"/>
            <a:ext cx="659612" cy="580815"/>
          </a:xfrm>
          <a:custGeom>
            <a:avLst/>
            <a:gdLst>
              <a:gd name="T0" fmla="*/ 176 w 201"/>
              <a:gd name="T1" fmla="*/ 16 h 192"/>
              <a:gd name="T2" fmla="*/ 97 w 201"/>
              <a:gd name="T3" fmla="*/ 16 h 192"/>
              <a:gd name="T4" fmla="*/ 17 w 201"/>
              <a:gd name="T5" fmla="*/ 92 h 192"/>
              <a:gd name="T6" fmla="*/ 17 w 201"/>
              <a:gd name="T7" fmla="*/ 167 h 192"/>
              <a:gd name="T8" fmla="*/ 0 w 201"/>
              <a:gd name="T9" fmla="*/ 167 h 192"/>
              <a:gd name="T10" fmla="*/ 0 w 201"/>
              <a:gd name="T11" fmla="*/ 192 h 192"/>
              <a:gd name="T12" fmla="*/ 134 w 201"/>
              <a:gd name="T13" fmla="*/ 192 h 192"/>
              <a:gd name="T14" fmla="*/ 134 w 201"/>
              <a:gd name="T15" fmla="*/ 167 h 192"/>
              <a:gd name="T16" fmla="*/ 117 w 201"/>
              <a:gd name="T17" fmla="*/ 167 h 192"/>
              <a:gd name="T18" fmla="*/ 117 w 201"/>
              <a:gd name="T19" fmla="*/ 136 h 192"/>
              <a:gd name="T20" fmla="*/ 142 w 201"/>
              <a:gd name="T21" fmla="*/ 108 h 192"/>
              <a:gd name="T22" fmla="*/ 176 w 201"/>
              <a:gd name="T23" fmla="*/ 108 h 192"/>
              <a:gd name="T24" fmla="*/ 176 w 201"/>
              <a:gd name="T25" fmla="*/ 125 h 192"/>
              <a:gd name="T26" fmla="*/ 201 w 201"/>
              <a:gd name="T27" fmla="*/ 125 h 192"/>
              <a:gd name="T28" fmla="*/ 201 w 201"/>
              <a:gd name="T29" fmla="*/ 0 h 192"/>
              <a:gd name="T30" fmla="*/ 176 w 201"/>
              <a:gd name="T31" fmla="*/ 0 h 192"/>
              <a:gd name="T32" fmla="*/ 176 w 201"/>
              <a:gd name="T33" fmla="*/ 16 h 192"/>
              <a:gd name="T34" fmla="*/ 176 w 201"/>
              <a:gd name="T35" fmla="*/ 16 h 192"/>
              <a:gd name="T36" fmla="*/ 176 w 201"/>
              <a:gd name="T37" fmla="*/ 16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01" h="192">
                <a:moveTo>
                  <a:pt x="176" y="16"/>
                </a:moveTo>
                <a:cubicBezTo>
                  <a:pt x="97" y="16"/>
                  <a:pt x="97" y="16"/>
                  <a:pt x="97" y="16"/>
                </a:cubicBezTo>
                <a:cubicBezTo>
                  <a:pt x="17" y="16"/>
                  <a:pt x="17" y="92"/>
                  <a:pt x="17" y="92"/>
                </a:cubicBezTo>
                <a:cubicBezTo>
                  <a:pt x="17" y="167"/>
                  <a:pt x="17" y="167"/>
                  <a:pt x="17" y="167"/>
                </a:cubicBezTo>
                <a:cubicBezTo>
                  <a:pt x="0" y="167"/>
                  <a:pt x="0" y="167"/>
                  <a:pt x="0" y="167"/>
                </a:cubicBezTo>
                <a:cubicBezTo>
                  <a:pt x="0" y="192"/>
                  <a:pt x="0" y="192"/>
                  <a:pt x="0" y="192"/>
                </a:cubicBezTo>
                <a:cubicBezTo>
                  <a:pt x="134" y="192"/>
                  <a:pt x="134" y="192"/>
                  <a:pt x="134" y="192"/>
                </a:cubicBezTo>
                <a:cubicBezTo>
                  <a:pt x="134" y="167"/>
                  <a:pt x="134" y="167"/>
                  <a:pt x="134" y="167"/>
                </a:cubicBezTo>
                <a:cubicBezTo>
                  <a:pt x="117" y="167"/>
                  <a:pt x="117" y="167"/>
                  <a:pt x="117" y="167"/>
                </a:cubicBezTo>
                <a:cubicBezTo>
                  <a:pt x="117" y="136"/>
                  <a:pt x="117" y="136"/>
                  <a:pt x="117" y="136"/>
                </a:cubicBezTo>
                <a:cubicBezTo>
                  <a:pt x="117" y="136"/>
                  <a:pt x="115" y="108"/>
                  <a:pt x="142" y="108"/>
                </a:cubicBezTo>
                <a:cubicBezTo>
                  <a:pt x="176" y="108"/>
                  <a:pt x="176" y="108"/>
                  <a:pt x="176" y="108"/>
                </a:cubicBezTo>
                <a:cubicBezTo>
                  <a:pt x="176" y="125"/>
                  <a:pt x="176" y="125"/>
                  <a:pt x="176" y="125"/>
                </a:cubicBezTo>
                <a:cubicBezTo>
                  <a:pt x="201" y="125"/>
                  <a:pt x="201" y="125"/>
                  <a:pt x="201" y="125"/>
                </a:cubicBezTo>
                <a:cubicBezTo>
                  <a:pt x="201" y="0"/>
                  <a:pt x="201" y="0"/>
                  <a:pt x="201" y="0"/>
                </a:cubicBezTo>
                <a:cubicBezTo>
                  <a:pt x="176" y="0"/>
                  <a:pt x="176" y="0"/>
                  <a:pt x="176" y="0"/>
                </a:cubicBezTo>
                <a:lnTo>
                  <a:pt x="176" y="16"/>
                </a:lnTo>
                <a:close/>
                <a:moveTo>
                  <a:pt x="176" y="16"/>
                </a:moveTo>
                <a:cubicBezTo>
                  <a:pt x="176" y="16"/>
                  <a:pt x="176" y="16"/>
                  <a:pt x="176" y="16"/>
                </a:cubicBezTo>
              </a:path>
            </a:pathLst>
          </a:custGeom>
          <a:solidFill>
            <a:schemeClr val="tx2">
              <a:alpha val="28000"/>
            </a:schemeClr>
          </a:solidFill>
          <a:ln>
            <a:noFill/>
          </a:ln>
        </p:spPr>
        <p:txBody>
          <a:bodyPr vert="horz" wrap="square" lIns="52480" tIns="26240" rIns="52480" bIns="26240" numCol="1" anchor="t" anchorCtr="0" compatLnSpc="1">
            <a:prstTxWarp prst="textNoShape">
              <a:avLst/>
            </a:prstTxWarp>
          </a:bodyPr>
          <a:lstStyle/>
          <a:p>
            <a:pPr lvl="0"/>
            <a:endParaRPr lang="es-ES_tradnl" sz="1034" dirty="0">
              <a:solidFill>
                <a:srgbClr val="000000"/>
              </a:solidFill>
            </a:endParaRPr>
          </a:p>
        </p:txBody>
      </p:sp>
      <p:grpSp>
        <p:nvGrpSpPr>
          <p:cNvPr id="24" name="Title Elements"/>
          <p:cNvGrpSpPr/>
          <p:nvPr userDrawn="1"/>
        </p:nvGrpSpPr>
        <p:grpSpPr>
          <a:xfrm>
            <a:off x="1" y="1"/>
            <a:ext cx="9902492" cy="6859620"/>
            <a:chOff x="0" y="0"/>
            <a:chExt cx="8958264" cy="6723063"/>
          </a:xfrm>
        </p:grpSpPr>
        <p:sp>
          <p:nvSpPr>
            <p:cNvPr id="25" name="Document type" hidden="1"/>
            <p:cNvSpPr txBox="1">
              <a:spLocks noChangeArrowheads="1"/>
            </p:cNvSpPr>
            <p:nvPr/>
          </p:nvSpPr>
          <p:spPr bwMode="auto">
            <a:xfrm>
              <a:off x="2640013" y="5025575"/>
              <a:ext cx="4935538" cy="121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803" dirty="0" err="1">
                  <a:solidFill>
                    <a:srgbClr val="000000"/>
                  </a:solidFill>
                  <a:latin typeface="Arial"/>
                </a:rPr>
                <a:t>Document</a:t>
              </a:r>
              <a:r>
                <a:rPr lang="es-ES_tradnl" sz="803" dirty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803" dirty="0" err="1">
                  <a:solidFill>
                    <a:srgbClr val="000000"/>
                  </a:solidFill>
                  <a:latin typeface="Arial"/>
                </a:rPr>
                <a:t>type</a:t>
              </a:r>
              <a:endParaRPr lang="es-ES_tradnl" sz="803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" name="Date" hidden="1"/>
            <p:cNvSpPr txBox="1">
              <a:spLocks noChangeArrowheads="1"/>
            </p:cNvSpPr>
            <p:nvPr/>
          </p:nvSpPr>
          <p:spPr bwMode="auto">
            <a:xfrm>
              <a:off x="2640013" y="5199063"/>
              <a:ext cx="4935538" cy="121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803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27" name="Disclaimer" hidden="1"/>
            <p:cNvSpPr>
              <a:spLocks noChangeArrowheads="1"/>
            </p:cNvSpPr>
            <p:nvPr/>
          </p:nvSpPr>
          <p:spPr bwMode="auto">
            <a:xfrm>
              <a:off x="2640013" y="6001942"/>
              <a:ext cx="5121275" cy="138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461927" eaLnBrk="0" hangingPunct="0"/>
              <a:r>
                <a:rPr lang="es-ES_tradnl" sz="459" dirty="0" err="1">
                  <a:solidFill>
                    <a:srgbClr val="000000"/>
                  </a:solidFill>
                  <a:latin typeface="Arial"/>
                </a:rPr>
                <a:t>CONFIDENTIAL</a:t>
              </a:r>
              <a:r>
                <a:rPr lang="es-ES_tradnl" sz="459" dirty="0">
                  <a:solidFill>
                    <a:srgbClr val="000000"/>
                  </a:solidFill>
                  <a:latin typeface="Arial"/>
                </a:rPr>
                <a:t> AND </a:t>
              </a:r>
              <a:r>
                <a:rPr lang="es-ES_tradnl" sz="459" dirty="0" err="1">
                  <a:solidFill>
                    <a:srgbClr val="000000"/>
                  </a:solidFill>
                  <a:latin typeface="Arial"/>
                </a:rPr>
                <a:t>PROPRIETARY</a:t>
              </a:r>
              <a:endParaRPr lang="es-ES_tradnl" sz="459" dirty="0">
                <a:solidFill>
                  <a:srgbClr val="000000"/>
                </a:solidFill>
                <a:latin typeface="Arial"/>
              </a:endParaRPr>
            </a:p>
            <a:p>
              <a:pPr defTabSz="461927" eaLnBrk="0" hangingPunct="0"/>
              <a:r>
                <a:rPr lang="es-ES_tradnl" sz="459" dirty="0" err="1">
                  <a:solidFill>
                    <a:srgbClr val="000000"/>
                  </a:solidFill>
                  <a:latin typeface="Arial"/>
                </a:rPr>
                <a:t>Any</a:t>
              </a:r>
              <a:r>
                <a:rPr lang="es-ES_tradnl" sz="459" dirty="0">
                  <a:solidFill>
                    <a:srgbClr val="000000"/>
                  </a:solidFill>
                  <a:latin typeface="Arial"/>
                </a:rPr>
                <a:t> use of </a:t>
              </a:r>
              <a:r>
                <a:rPr lang="es-ES_tradnl" sz="459" dirty="0" err="1">
                  <a:solidFill>
                    <a:srgbClr val="000000"/>
                  </a:solidFill>
                  <a:latin typeface="Arial"/>
                </a:rPr>
                <a:t>this</a:t>
              </a:r>
              <a:r>
                <a:rPr lang="es-ES_tradnl" sz="459" dirty="0">
                  <a:solidFill>
                    <a:srgbClr val="000000"/>
                  </a:solidFill>
                  <a:latin typeface="Arial"/>
                </a:rPr>
                <a:t> material </a:t>
              </a:r>
              <a:r>
                <a:rPr lang="es-ES_tradnl" sz="459" dirty="0" err="1">
                  <a:solidFill>
                    <a:srgbClr val="000000"/>
                  </a:solidFill>
                  <a:latin typeface="Arial"/>
                </a:rPr>
                <a:t>without</a:t>
              </a:r>
              <a:r>
                <a:rPr lang="es-ES_tradnl" sz="459" dirty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459" dirty="0" err="1">
                  <a:solidFill>
                    <a:srgbClr val="000000"/>
                  </a:solidFill>
                  <a:latin typeface="Arial"/>
                </a:rPr>
                <a:t>specific</a:t>
              </a:r>
              <a:r>
                <a:rPr lang="es-ES_tradnl" sz="459" dirty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459" dirty="0" err="1">
                  <a:solidFill>
                    <a:srgbClr val="000000"/>
                  </a:solidFill>
                  <a:latin typeface="Arial"/>
                </a:rPr>
                <a:t>permission</a:t>
              </a:r>
              <a:r>
                <a:rPr lang="es-ES_tradnl" sz="459" dirty="0">
                  <a:solidFill>
                    <a:srgbClr val="000000"/>
                  </a:solidFill>
                  <a:latin typeface="Arial"/>
                </a:rPr>
                <a:t> of McKinsey &amp; Company </a:t>
              </a:r>
              <a:r>
                <a:rPr lang="es-ES_tradnl" sz="459" dirty="0" err="1">
                  <a:solidFill>
                    <a:srgbClr val="000000"/>
                  </a:solidFill>
                  <a:latin typeface="Arial"/>
                </a:rPr>
                <a:t>is</a:t>
              </a:r>
              <a:r>
                <a:rPr lang="es-ES_tradnl" sz="459" dirty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459" dirty="0" err="1">
                  <a:solidFill>
                    <a:srgbClr val="000000"/>
                  </a:solidFill>
                  <a:latin typeface="Arial"/>
                </a:rPr>
                <a:t>strictly</a:t>
              </a:r>
              <a:r>
                <a:rPr lang="es-ES_tradnl" sz="459" dirty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459" dirty="0" err="1">
                  <a:solidFill>
                    <a:srgbClr val="000000"/>
                  </a:solidFill>
                  <a:latin typeface="Arial"/>
                </a:rPr>
                <a:t>prohibited</a:t>
              </a:r>
              <a:endParaRPr lang="es-ES_tradnl" sz="459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03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03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Rectangle 45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034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1" name="Title Elements"/>
          <p:cNvGrpSpPr/>
          <p:nvPr userDrawn="1"/>
        </p:nvGrpSpPr>
        <p:grpSpPr>
          <a:xfrm>
            <a:off x="1" y="1"/>
            <a:ext cx="9902492" cy="6859620"/>
            <a:chOff x="0" y="0"/>
            <a:chExt cx="8958264" cy="6723063"/>
          </a:xfrm>
        </p:grpSpPr>
        <p:sp>
          <p:nvSpPr>
            <p:cNvPr id="32" name="Document type" hidden="1"/>
            <p:cNvSpPr txBox="1">
              <a:spLocks noChangeArrowheads="1"/>
            </p:cNvSpPr>
            <p:nvPr/>
          </p:nvSpPr>
          <p:spPr bwMode="auto">
            <a:xfrm>
              <a:off x="2640013" y="5025575"/>
              <a:ext cx="4935538" cy="121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803" dirty="0" err="1">
                  <a:solidFill>
                    <a:srgbClr val="000000"/>
                  </a:solidFill>
                  <a:latin typeface="Arial"/>
                </a:rPr>
                <a:t>Document</a:t>
              </a:r>
              <a:r>
                <a:rPr lang="es-ES_tradnl" sz="803" dirty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803" dirty="0" err="1">
                  <a:solidFill>
                    <a:srgbClr val="000000"/>
                  </a:solidFill>
                  <a:latin typeface="Arial"/>
                </a:rPr>
                <a:t>type</a:t>
              </a:r>
              <a:endParaRPr lang="es-ES_tradnl" sz="803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3" name="Date" hidden="1"/>
            <p:cNvSpPr txBox="1">
              <a:spLocks noChangeArrowheads="1"/>
            </p:cNvSpPr>
            <p:nvPr/>
          </p:nvSpPr>
          <p:spPr bwMode="auto">
            <a:xfrm>
              <a:off x="2640013" y="5199063"/>
              <a:ext cx="4935538" cy="121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803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34" name="Disclaimer" hidden="1"/>
            <p:cNvSpPr>
              <a:spLocks noChangeArrowheads="1"/>
            </p:cNvSpPr>
            <p:nvPr/>
          </p:nvSpPr>
          <p:spPr bwMode="auto">
            <a:xfrm>
              <a:off x="2640013" y="6001942"/>
              <a:ext cx="5121275" cy="138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461927" eaLnBrk="0" hangingPunct="0"/>
              <a:r>
                <a:rPr lang="es-ES_tradnl" sz="459" dirty="0" err="1">
                  <a:solidFill>
                    <a:srgbClr val="000000"/>
                  </a:solidFill>
                  <a:latin typeface="Arial"/>
                </a:rPr>
                <a:t>CONFIDENTIAL</a:t>
              </a:r>
              <a:r>
                <a:rPr lang="es-ES_tradnl" sz="459" dirty="0">
                  <a:solidFill>
                    <a:srgbClr val="000000"/>
                  </a:solidFill>
                  <a:latin typeface="Arial"/>
                </a:rPr>
                <a:t> AND </a:t>
              </a:r>
              <a:r>
                <a:rPr lang="es-ES_tradnl" sz="459" dirty="0" err="1">
                  <a:solidFill>
                    <a:srgbClr val="000000"/>
                  </a:solidFill>
                  <a:latin typeface="Arial"/>
                </a:rPr>
                <a:t>PROPRIETARY</a:t>
              </a:r>
              <a:endParaRPr lang="es-ES_tradnl" sz="459" dirty="0">
                <a:solidFill>
                  <a:srgbClr val="000000"/>
                </a:solidFill>
                <a:latin typeface="Arial"/>
              </a:endParaRPr>
            </a:p>
            <a:p>
              <a:pPr defTabSz="461927" eaLnBrk="0" hangingPunct="0"/>
              <a:r>
                <a:rPr lang="es-ES_tradnl" sz="459" dirty="0" err="1">
                  <a:solidFill>
                    <a:srgbClr val="000000"/>
                  </a:solidFill>
                  <a:latin typeface="Arial"/>
                </a:rPr>
                <a:t>Any</a:t>
              </a:r>
              <a:r>
                <a:rPr lang="es-ES_tradnl" sz="459" dirty="0">
                  <a:solidFill>
                    <a:srgbClr val="000000"/>
                  </a:solidFill>
                  <a:latin typeface="Arial"/>
                </a:rPr>
                <a:t> use of </a:t>
              </a:r>
              <a:r>
                <a:rPr lang="es-ES_tradnl" sz="459" dirty="0" err="1">
                  <a:solidFill>
                    <a:srgbClr val="000000"/>
                  </a:solidFill>
                  <a:latin typeface="Arial"/>
                </a:rPr>
                <a:t>this</a:t>
              </a:r>
              <a:r>
                <a:rPr lang="es-ES_tradnl" sz="459" dirty="0">
                  <a:solidFill>
                    <a:srgbClr val="000000"/>
                  </a:solidFill>
                  <a:latin typeface="Arial"/>
                </a:rPr>
                <a:t> material </a:t>
              </a:r>
              <a:r>
                <a:rPr lang="es-ES_tradnl" sz="459" dirty="0" err="1">
                  <a:solidFill>
                    <a:srgbClr val="000000"/>
                  </a:solidFill>
                  <a:latin typeface="Arial"/>
                </a:rPr>
                <a:t>without</a:t>
              </a:r>
              <a:r>
                <a:rPr lang="es-ES_tradnl" sz="459" dirty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459" dirty="0" err="1">
                  <a:solidFill>
                    <a:srgbClr val="000000"/>
                  </a:solidFill>
                  <a:latin typeface="Arial"/>
                </a:rPr>
                <a:t>specific</a:t>
              </a:r>
              <a:r>
                <a:rPr lang="es-ES_tradnl" sz="459" dirty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459" dirty="0" err="1">
                  <a:solidFill>
                    <a:srgbClr val="000000"/>
                  </a:solidFill>
                  <a:latin typeface="Arial"/>
                </a:rPr>
                <a:t>permission</a:t>
              </a:r>
              <a:r>
                <a:rPr lang="es-ES_tradnl" sz="459" dirty="0">
                  <a:solidFill>
                    <a:srgbClr val="000000"/>
                  </a:solidFill>
                  <a:latin typeface="Arial"/>
                </a:rPr>
                <a:t> of McKinsey &amp; Company </a:t>
              </a:r>
              <a:r>
                <a:rPr lang="es-ES_tradnl" sz="459" dirty="0" err="1">
                  <a:solidFill>
                    <a:srgbClr val="000000"/>
                  </a:solidFill>
                  <a:latin typeface="Arial"/>
                </a:rPr>
                <a:t>is</a:t>
              </a:r>
              <a:r>
                <a:rPr lang="es-ES_tradnl" sz="459" dirty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459" dirty="0" err="1">
                  <a:solidFill>
                    <a:srgbClr val="000000"/>
                  </a:solidFill>
                  <a:latin typeface="Arial"/>
                </a:rPr>
                <a:t>strictly</a:t>
              </a:r>
              <a:r>
                <a:rPr lang="es-ES_tradnl" sz="459" dirty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459" dirty="0" err="1">
                  <a:solidFill>
                    <a:srgbClr val="000000"/>
                  </a:solidFill>
                  <a:latin typeface="Arial"/>
                </a:rPr>
                <a:t>prohibited</a:t>
              </a:r>
              <a:endParaRPr lang="es-ES_tradnl" sz="459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5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03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03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Rectangle 56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034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8" name="Title Elements"/>
          <p:cNvGrpSpPr/>
          <p:nvPr userDrawn="1"/>
        </p:nvGrpSpPr>
        <p:grpSpPr>
          <a:xfrm>
            <a:off x="1" y="1"/>
            <a:ext cx="9902492" cy="6859620"/>
            <a:chOff x="0" y="0"/>
            <a:chExt cx="8958264" cy="6723063"/>
          </a:xfrm>
        </p:grpSpPr>
        <p:sp>
          <p:nvSpPr>
            <p:cNvPr id="39" name="Document type" hidden="1"/>
            <p:cNvSpPr txBox="1">
              <a:spLocks noChangeArrowheads="1"/>
            </p:cNvSpPr>
            <p:nvPr/>
          </p:nvSpPr>
          <p:spPr bwMode="auto">
            <a:xfrm>
              <a:off x="2640013" y="5025575"/>
              <a:ext cx="4935538" cy="121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803" dirty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40" name="Date" hidden="1"/>
            <p:cNvSpPr txBox="1">
              <a:spLocks noChangeArrowheads="1"/>
            </p:cNvSpPr>
            <p:nvPr/>
          </p:nvSpPr>
          <p:spPr bwMode="auto">
            <a:xfrm>
              <a:off x="2640013" y="5199063"/>
              <a:ext cx="4935538" cy="121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803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41" name="Disclaimer" hidden="1"/>
            <p:cNvSpPr>
              <a:spLocks noChangeArrowheads="1"/>
            </p:cNvSpPr>
            <p:nvPr/>
          </p:nvSpPr>
          <p:spPr bwMode="auto">
            <a:xfrm>
              <a:off x="2640013" y="6001942"/>
              <a:ext cx="5121275" cy="138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461927" eaLnBrk="0" hangingPunct="0"/>
              <a:r>
                <a:rPr lang="en-US" sz="459" dirty="0">
                  <a:solidFill>
                    <a:srgbClr val="000000"/>
                  </a:solidFill>
                  <a:latin typeface="Arial"/>
                </a:rPr>
                <a:t>CONFIDENTIAL AND PROPRIETARY</a:t>
              </a:r>
            </a:p>
            <a:p>
              <a:pPr defTabSz="461927" eaLnBrk="0" hangingPunct="0"/>
              <a:r>
                <a:rPr lang="en-US" sz="459" dirty="0">
                  <a:solidFill>
                    <a:srgbClr val="000000"/>
                  </a:solidFill>
                  <a:latin typeface="Arial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42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3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3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4" name="Rectangle 66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34" dirty="0">
                <a:solidFill>
                  <a:srgbClr val="000000"/>
                </a:solidFill>
              </a:endParaRPr>
            </a:p>
          </p:txBody>
        </p:sp>
      </p:grpSp>
      <p:sp>
        <p:nvSpPr>
          <p:cNvPr id="46" name="Marcador de número de diapositiva 5"/>
          <p:cNvSpPr>
            <a:spLocks noGrp="1"/>
          </p:cNvSpPr>
          <p:nvPr userDrawn="1">
            <p:ph type="sldNum" sz="quarter" idx="4"/>
          </p:nvPr>
        </p:nvSpPr>
        <p:spPr>
          <a:xfrm>
            <a:off x="9217712" y="6406125"/>
            <a:ext cx="688288" cy="365125"/>
          </a:xfrm>
          <a:prstGeom prst="rect">
            <a:avLst/>
          </a:prstGeom>
        </p:spPr>
        <p:txBody>
          <a:bodyPr/>
          <a:lstStyle>
            <a:lvl1pPr algn="ctr">
              <a:defRPr sz="1050" b="1">
                <a:solidFill>
                  <a:schemeClr val="tx2"/>
                </a:solidFill>
              </a:defRPr>
            </a:lvl1pPr>
          </a:lstStyle>
          <a:p>
            <a:fld id="{02F25750-4209-4357-A72F-45445C8044EF}" type="slidenum">
              <a:rPr lang="es-CO" smtClean="0"/>
              <a:pPr/>
              <a:t>‹Nº›</a:t>
            </a:fld>
            <a:endParaRPr lang="es-CO" dirty="0"/>
          </a:p>
        </p:txBody>
      </p:sp>
      <p:sp>
        <p:nvSpPr>
          <p:cNvPr id="49" name="TitleTopPlaceholder"/>
          <p:cNvSpPr>
            <a:spLocks noChangeArrowheads="1"/>
          </p:cNvSpPr>
          <p:nvPr userDrawn="1"/>
        </p:nvSpPr>
        <p:spPr bwMode="auto">
          <a:xfrm>
            <a:off x="1" y="1944"/>
            <a:ext cx="9911265" cy="2283840"/>
          </a:xfrm>
          <a:prstGeom prst="rect">
            <a:avLst/>
          </a:prstGeom>
          <a:solidFill>
            <a:schemeClr val="accent1">
              <a:alpha val="70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endParaRPr lang="es-ES_tradnl" sz="1034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0" name="Imagen 4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1868" y="487388"/>
            <a:ext cx="1872255" cy="1311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29508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ido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F25750-4209-4357-A72F-45445C8044EF}" type="slidenum">
              <a:rPr lang="es-CO" smtClean="0"/>
              <a:pPr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3492016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Contenido_Solo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93909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9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número de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F25750-4209-4357-A72F-45445C8044EF}" type="slidenum">
              <a:rPr lang="es-CO" smtClean="0"/>
              <a:pPr/>
              <a:t>‹Nº›</a:t>
            </a:fld>
            <a:endParaRPr lang="es-CO" dirty="0"/>
          </a:p>
        </p:txBody>
      </p:sp>
      <p:sp>
        <p:nvSpPr>
          <p:cNvPr id="4" name="2. Slide Title"/>
          <p:cNvSpPr>
            <a:spLocks noGrp="1"/>
          </p:cNvSpPr>
          <p:nvPr>
            <p:ph type="title" hasCustomPrompt="1"/>
          </p:nvPr>
        </p:nvSpPr>
        <p:spPr>
          <a:xfrm>
            <a:off x="268537" y="234865"/>
            <a:ext cx="9368928" cy="668518"/>
          </a:xfrm>
          <a:prstGeom prst="rect">
            <a:avLst/>
          </a:prstGeom>
        </p:spPr>
        <p:txBody>
          <a:bodyPr/>
          <a:lstStyle>
            <a:lvl1pPr>
              <a:defRPr sz="2000" baseline="0"/>
            </a:lvl1pPr>
          </a:lstStyle>
          <a:p>
            <a:r>
              <a:rPr lang="es-ES_tradnl" dirty="0"/>
              <a:t>Título de la diapositiva (Arial, 20, Azul)</a:t>
            </a:r>
          </a:p>
        </p:txBody>
      </p:sp>
    </p:spTree>
    <p:extLst>
      <p:ext uri="{BB962C8B-B14F-4D97-AF65-F5344CB8AC3E}">
        <p14:creationId xmlns:p14="http://schemas.microsoft.com/office/powerpoint/2010/main" val="38373569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ido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 hasCustomPrompt="1"/>
          </p:nvPr>
        </p:nvSpPr>
        <p:spPr>
          <a:xfrm>
            <a:off x="268537" y="234865"/>
            <a:ext cx="9368928" cy="668518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r>
              <a:rPr lang="es-ES_tradnl" dirty="0"/>
              <a:t>Título de la diapositiva (Arial, 20, Azul)</a:t>
            </a:r>
          </a:p>
        </p:txBody>
      </p:sp>
      <p:sp>
        <p:nvSpPr>
          <p:cNvPr id="5" name="SlideLogoSeparator" hidden="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9306512" y="6534056"/>
            <a:ext cx="44300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513859"/>
            <a:r>
              <a:rPr lang="es-ES_tradnl" sz="689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  <p:sp>
        <p:nvSpPr>
          <p:cNvPr id="7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9217712" y="6406125"/>
            <a:ext cx="688288" cy="365125"/>
          </a:xfrm>
          <a:prstGeom prst="rect">
            <a:avLst/>
          </a:prstGeom>
        </p:spPr>
        <p:txBody>
          <a:bodyPr/>
          <a:lstStyle>
            <a:lvl1pPr algn="ctr">
              <a:defRPr sz="1050" b="1">
                <a:solidFill>
                  <a:srgbClr val="25546D"/>
                </a:solidFill>
              </a:defRPr>
            </a:lvl1pPr>
          </a:lstStyle>
          <a:p>
            <a:fld id="{02F25750-4209-4357-A72F-45445C8044EF}" type="slidenum">
              <a:rPr lang="es-CO" smtClean="0"/>
              <a:pPr/>
              <a:t>‹Nº›</a:t>
            </a:fld>
            <a:endParaRPr lang="es-CO" dirty="0"/>
          </a:p>
        </p:txBody>
      </p:sp>
      <p:cxnSp>
        <p:nvCxnSpPr>
          <p:cNvPr id="8" name="Straight Connector 6"/>
          <p:cNvCxnSpPr/>
          <p:nvPr userDrawn="1"/>
        </p:nvCxnSpPr>
        <p:spPr>
          <a:xfrm>
            <a:off x="9217712" y="6315773"/>
            <a:ext cx="0" cy="327998"/>
          </a:xfrm>
          <a:prstGeom prst="line">
            <a:avLst/>
          </a:prstGeom>
          <a:noFill/>
          <a:ln w="3175">
            <a:solidFill>
              <a:srgbClr val="33779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" name="Marcador de contenido 2"/>
          <p:cNvSpPr>
            <a:spLocks noGrp="1"/>
          </p:cNvSpPr>
          <p:nvPr>
            <p:ph sz="quarter" idx="10"/>
          </p:nvPr>
        </p:nvSpPr>
        <p:spPr>
          <a:xfrm>
            <a:off x="268537" y="1068638"/>
            <a:ext cx="9368928" cy="5144839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 marL="111154" indent="-110243">
              <a:buFont typeface="Arial" panose="020B0604020202020204" pitchFamily="34" charset="0"/>
              <a:buChar char="•"/>
              <a:defRPr sz="1800"/>
            </a:lvl2pPr>
            <a:lvl3pPr>
              <a:defRPr sz="1800"/>
            </a:lvl3pPr>
            <a:lvl4pPr marL="352595" indent="-89288">
              <a:buFont typeface="Courier New" panose="02070309020205020404" pitchFamily="49" charset="0"/>
              <a:buChar char="o"/>
              <a:defRPr sz="1400"/>
            </a:lvl4pPr>
            <a:lvl5pPr>
              <a:defRPr sz="1050"/>
            </a:lvl5pPr>
          </a:lstStyle>
          <a:p>
            <a:pPr lvl="0"/>
            <a:r>
              <a:rPr lang="es-ES" dirty="0"/>
              <a:t>Edit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</p:txBody>
      </p:sp>
    </p:spTree>
    <p:extLst>
      <p:ext uri="{BB962C8B-B14F-4D97-AF65-F5344CB8AC3E}">
        <p14:creationId xmlns:p14="http://schemas.microsoft.com/office/powerpoint/2010/main" val="22858612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ido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F25750-4209-4357-A72F-45445C8044EF}" type="slidenum">
              <a:rPr lang="es-CO" smtClean="0"/>
              <a:pPr/>
              <a:t>‹Nº›</a:t>
            </a:fld>
            <a:endParaRPr lang="es-CO" dirty="0"/>
          </a:p>
        </p:txBody>
      </p:sp>
      <p:sp>
        <p:nvSpPr>
          <p:cNvPr id="4" name="2. Slide Title"/>
          <p:cNvSpPr>
            <a:spLocks noGrp="1"/>
          </p:cNvSpPr>
          <p:nvPr>
            <p:ph type="title" hasCustomPrompt="1"/>
          </p:nvPr>
        </p:nvSpPr>
        <p:spPr>
          <a:xfrm>
            <a:off x="268537" y="234865"/>
            <a:ext cx="9368928" cy="668518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r>
              <a:rPr lang="es-ES_tradnl" dirty="0"/>
              <a:t>Título de la diapositiva (Arial, 20, Azul)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11"/>
          </p:nvPr>
        </p:nvSpPr>
        <p:spPr>
          <a:xfrm>
            <a:off x="268537" y="1162756"/>
            <a:ext cx="4604742" cy="4752622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7" name="Marcador de contenido 5"/>
          <p:cNvSpPr>
            <a:spLocks noGrp="1"/>
          </p:cNvSpPr>
          <p:nvPr>
            <p:ph sz="quarter" idx="12"/>
          </p:nvPr>
        </p:nvSpPr>
        <p:spPr>
          <a:xfrm>
            <a:off x="5032723" y="1162756"/>
            <a:ext cx="4604742" cy="4752622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s-ES" dirty="0"/>
              <a:t>Edit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0984444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56" y="1621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8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6" y="1621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s-E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9591632" y="6591907"/>
            <a:ext cx="184346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s-E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s-ES" sz="816" baseline="0" smtClean="0">
                <a:solidFill>
                  <a:schemeClr val="tx2"/>
                </a:solidFill>
                <a:latin typeface="+mn-lt"/>
              </a:rPr>
              <a:pPr algn="ctr"/>
              <a:t>‹Nº›</a:t>
            </a:fld>
            <a:endParaRPr lang="es-ES" sz="816" baseline="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8958708" y="37255"/>
            <a:ext cx="701617" cy="1182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s-ES" sz="816" baseline="0" dirty="0">
              <a:solidFill>
                <a:schemeClr val="accent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93287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832870907"/>
              </p:ext>
            </p:extLst>
          </p:nvPr>
        </p:nvGraphicFramePr>
        <p:xfrm>
          <a:off x="0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SlideBottomBar"/>
          <p:cNvSpPr>
            <a:spLocks noChangeArrowheads="1"/>
          </p:cNvSpPr>
          <p:nvPr/>
        </p:nvSpPr>
        <p:spPr bwMode="auto">
          <a:xfrm>
            <a:off x="0" y="6315773"/>
            <a:ext cx="9906000" cy="543848"/>
          </a:xfrm>
          <a:prstGeom prst="rect">
            <a:avLst/>
          </a:prstGeom>
          <a:solidFill>
            <a:srgbClr val="C3DDEB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s-ES_tradnl" sz="1034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933826" y="37255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513859"/>
            <a:endParaRPr lang="es-ES_tradnl" sz="459" dirty="0">
              <a:solidFill>
                <a:srgbClr val="000000"/>
              </a:solidFill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9209224" y="2000633"/>
            <a:ext cx="1239122" cy="52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344">
                <a:solidFill>
                  <a:srgbClr val="000000"/>
                </a:solidFill>
              </a:rPr>
              <a:t>Last Modified 08/08/2017 12:53 p. m. SA Pacific Standard Time</a:t>
            </a:r>
            <a:endParaRPr lang="es-ES_tradnl" sz="918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9759859" y="4218613"/>
            <a:ext cx="137858" cy="52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s-ES_tradnl" sz="344" dirty="0" err="1">
                <a:solidFill>
                  <a:srgbClr val="000000"/>
                </a:solidFill>
              </a:rPr>
              <a:t>Printed</a:t>
            </a:r>
            <a:endParaRPr lang="es-ES_tradnl" sz="918" dirty="0">
              <a:solidFill>
                <a:srgbClr val="000000"/>
              </a:solidFill>
            </a:endParaRPr>
          </a:p>
        </p:txBody>
      </p:sp>
      <p:sp>
        <p:nvSpPr>
          <p:cNvPr id="11" name="1. On-page tracker" hidden="1"/>
          <p:cNvSpPr>
            <a:spLocks noChangeArrowheads="1"/>
          </p:cNvSpPr>
          <p:nvPr/>
        </p:nvSpPr>
        <p:spPr bwMode="auto">
          <a:xfrm>
            <a:off x="131616" y="27537"/>
            <a:ext cx="490519" cy="1235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s-ES_tradnl" sz="803" dirty="0" err="1">
                <a:solidFill>
                  <a:srgbClr val="808080"/>
                </a:solidFill>
                <a:latin typeface="Arial"/>
              </a:rPr>
              <a:t>TRACKER</a:t>
            </a:r>
            <a:endParaRPr lang="es-ES_tradnl" sz="803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2" name="3. Unit of measure" hidden="1"/>
          <p:cNvSpPr txBox="1">
            <a:spLocks noChangeArrowheads="1"/>
          </p:cNvSpPr>
          <p:nvPr/>
        </p:nvSpPr>
        <p:spPr bwMode="auto">
          <a:xfrm>
            <a:off x="131612" y="542620"/>
            <a:ext cx="9526957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s-ES_tradnl" sz="918" dirty="0" err="1">
                <a:solidFill>
                  <a:srgbClr val="808080"/>
                </a:solidFill>
              </a:rPr>
              <a:t>Unit</a:t>
            </a:r>
            <a:r>
              <a:rPr lang="es-ES_tradnl" sz="918" dirty="0">
                <a:solidFill>
                  <a:srgbClr val="808080"/>
                </a:solidFill>
              </a:rPr>
              <a:t> of </a:t>
            </a:r>
            <a:r>
              <a:rPr lang="es-ES_tradnl" sz="918" dirty="0" err="1">
                <a:solidFill>
                  <a:srgbClr val="808080"/>
                </a:solidFill>
              </a:rPr>
              <a:t>measure</a:t>
            </a:r>
            <a:endParaRPr lang="es-ES_tradnl" sz="918" dirty="0">
              <a:solidFill>
                <a:srgbClr val="808080"/>
              </a:solidFill>
            </a:endParaRPr>
          </a:p>
        </p:txBody>
      </p:sp>
      <p:grpSp>
        <p:nvGrpSpPr>
          <p:cNvPr id="13" name="Slide Elements" hidden="1"/>
          <p:cNvGrpSpPr>
            <a:grpSpLocks/>
          </p:cNvGrpSpPr>
          <p:nvPr/>
        </p:nvGrpSpPr>
        <p:grpSpPr bwMode="auto">
          <a:xfrm>
            <a:off x="131615" y="6270045"/>
            <a:ext cx="9449744" cy="432473"/>
            <a:chOff x="75" y="3871"/>
            <a:chExt cx="5385" cy="267"/>
          </a:xfrm>
        </p:grpSpPr>
        <p:sp>
          <p:nvSpPr>
            <p:cNvPr id="14" name="4. Footnote"/>
            <p:cNvSpPr txBox="1">
              <a:spLocks noChangeArrowheads="1"/>
            </p:cNvSpPr>
            <p:nvPr/>
          </p:nvSpPr>
          <p:spPr bwMode="auto">
            <a:xfrm>
              <a:off x="75" y="3871"/>
              <a:ext cx="5385" cy="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s-ES_tradnl" sz="574" dirty="0">
                  <a:solidFill>
                    <a:srgbClr val="000000"/>
                  </a:solidFill>
                  <a:latin typeface="Arial"/>
                </a:rPr>
                <a:t>1 Nota al pie</a:t>
              </a:r>
            </a:p>
          </p:txBody>
        </p:sp>
        <p:sp>
          <p:nvSpPr>
            <p:cNvPr id="15" name="5. Source"/>
            <p:cNvSpPr>
              <a:spLocks noChangeArrowheads="1"/>
            </p:cNvSpPr>
            <p:nvPr/>
          </p:nvSpPr>
          <p:spPr bwMode="auto">
            <a:xfrm>
              <a:off x="75" y="4083"/>
              <a:ext cx="4323" cy="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349861" indent="-349861" defTabSz="513859">
                <a:tabLst>
                  <a:tab pos="351683" algn="l"/>
                </a:tabLst>
              </a:pPr>
              <a:r>
                <a:rPr lang="es-ES_tradnl" sz="574" dirty="0">
                  <a:solidFill>
                    <a:srgbClr val="000000"/>
                  </a:solidFill>
                  <a:latin typeface="Arial"/>
                </a:rPr>
                <a:t>FUENTE: Análisis equipo de trabajo</a:t>
              </a:r>
            </a:p>
          </p:txBody>
        </p:sp>
      </p:grpSp>
      <p:grpSp>
        <p:nvGrpSpPr>
          <p:cNvPr id="16" name="ACET" hidden="1"/>
          <p:cNvGrpSpPr>
            <a:grpSpLocks/>
          </p:cNvGrpSpPr>
          <p:nvPr/>
        </p:nvGrpSpPr>
        <p:grpSpPr bwMode="auto">
          <a:xfrm>
            <a:off x="1605669" y="1331433"/>
            <a:ext cx="4713466" cy="336907"/>
            <a:chOff x="915" y="822"/>
            <a:chExt cx="2686" cy="208"/>
          </a:xfrm>
        </p:grpSpPr>
        <p:cxnSp>
          <p:nvCxnSpPr>
            <p:cNvPr id="1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822"/>
              <a:ext cx="2686" cy="2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s-ES_tradnl" sz="1034" b="1" dirty="0" err="1">
                  <a:solidFill>
                    <a:srgbClr val="000000"/>
                  </a:solidFill>
                </a:rPr>
                <a:t>Title</a:t>
              </a:r>
              <a:endParaRPr lang="es-ES_tradnl" sz="1034" b="1" dirty="0">
                <a:solidFill>
                  <a:srgbClr val="000000"/>
                </a:solidFill>
              </a:endParaRPr>
            </a:p>
            <a:p>
              <a:r>
                <a:rPr lang="es-ES_tradnl" sz="1034" dirty="0" err="1">
                  <a:solidFill>
                    <a:srgbClr val="808080"/>
                  </a:solidFill>
                </a:rPr>
                <a:t>Unit</a:t>
              </a:r>
              <a:r>
                <a:rPr lang="es-ES_tradnl" sz="1034" dirty="0">
                  <a:solidFill>
                    <a:srgbClr val="808080"/>
                  </a:solidFill>
                </a:rPr>
                <a:t> of </a:t>
              </a:r>
              <a:r>
                <a:rPr lang="es-ES_tradnl" sz="1034" dirty="0" err="1">
                  <a:solidFill>
                    <a:srgbClr val="808080"/>
                  </a:solidFill>
                </a:rPr>
                <a:t>measure</a:t>
              </a:r>
              <a:endParaRPr lang="es-ES_tradnl" sz="1034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1. On-page tracker" hidden="1"/>
          <p:cNvSpPr>
            <a:spLocks noChangeArrowheads="1"/>
          </p:cNvSpPr>
          <p:nvPr/>
        </p:nvSpPr>
        <p:spPr bwMode="auto">
          <a:xfrm>
            <a:off x="131616" y="27537"/>
            <a:ext cx="490519" cy="1235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s-ES_tradnl" sz="803" dirty="0" err="1">
                <a:solidFill>
                  <a:srgbClr val="808080"/>
                </a:solidFill>
                <a:latin typeface="Arial"/>
              </a:rPr>
              <a:t>TRACKER</a:t>
            </a:r>
            <a:endParaRPr lang="es-ES_tradnl" sz="803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24" name="3. Unit of measure" hidden="1"/>
          <p:cNvSpPr txBox="1">
            <a:spLocks noChangeArrowheads="1"/>
          </p:cNvSpPr>
          <p:nvPr/>
        </p:nvSpPr>
        <p:spPr bwMode="auto">
          <a:xfrm>
            <a:off x="131612" y="542620"/>
            <a:ext cx="9526957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s-ES_tradnl" sz="918" dirty="0" err="1">
                <a:solidFill>
                  <a:srgbClr val="808080"/>
                </a:solidFill>
                <a:latin typeface="Arial"/>
              </a:rPr>
              <a:t>Unit</a:t>
            </a:r>
            <a:r>
              <a:rPr lang="es-ES_tradnl" sz="918" dirty="0">
                <a:solidFill>
                  <a:srgbClr val="808080"/>
                </a:solidFill>
                <a:latin typeface="Arial"/>
              </a:rPr>
              <a:t> of </a:t>
            </a:r>
            <a:r>
              <a:rPr lang="es-ES_tradnl" sz="918" dirty="0" err="1">
                <a:solidFill>
                  <a:srgbClr val="808080"/>
                </a:solidFill>
                <a:latin typeface="Arial"/>
              </a:rPr>
              <a:t>measure</a:t>
            </a:r>
            <a:endParaRPr lang="es-ES_tradnl" sz="918" dirty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25" name="Slide Elements" hidden="1"/>
          <p:cNvGrpSpPr>
            <a:grpSpLocks/>
          </p:cNvGrpSpPr>
          <p:nvPr/>
        </p:nvGrpSpPr>
        <p:grpSpPr bwMode="auto">
          <a:xfrm>
            <a:off x="131615" y="6270044"/>
            <a:ext cx="9449744" cy="419515"/>
            <a:chOff x="75" y="3871"/>
            <a:chExt cx="5385" cy="259"/>
          </a:xfrm>
        </p:grpSpPr>
        <p:sp>
          <p:nvSpPr>
            <p:cNvPr id="26" name="4. Footnote"/>
            <p:cNvSpPr txBox="1">
              <a:spLocks noChangeArrowheads="1"/>
            </p:cNvSpPr>
            <p:nvPr/>
          </p:nvSpPr>
          <p:spPr bwMode="auto">
            <a:xfrm>
              <a:off x="75" y="3871"/>
              <a:ext cx="5385" cy="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s-ES_tradnl" sz="574" dirty="0">
                  <a:solidFill>
                    <a:srgbClr val="000000"/>
                  </a:solidFill>
                  <a:latin typeface="Arial"/>
                </a:rPr>
                <a:t>1 </a:t>
              </a:r>
              <a:r>
                <a:rPr lang="es-ES_tradnl" sz="574" dirty="0" err="1">
                  <a:solidFill>
                    <a:srgbClr val="000000"/>
                  </a:solidFill>
                  <a:latin typeface="Arial"/>
                </a:rPr>
                <a:t>Footnote</a:t>
              </a:r>
              <a:endParaRPr lang="es-ES_tradnl" sz="57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7" name="5. Source"/>
            <p:cNvSpPr>
              <a:spLocks noChangeArrowheads="1"/>
            </p:cNvSpPr>
            <p:nvPr/>
          </p:nvSpPr>
          <p:spPr bwMode="auto">
            <a:xfrm>
              <a:off x="75" y="4075"/>
              <a:ext cx="4323" cy="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349861" indent="-349861" defTabSz="513859">
                <a:tabLst>
                  <a:tab pos="351683" algn="l"/>
                </a:tabLst>
              </a:pPr>
              <a:r>
                <a:rPr lang="es-ES_tradnl" sz="574" dirty="0" err="1">
                  <a:solidFill>
                    <a:srgbClr val="000000"/>
                  </a:solidFill>
                  <a:latin typeface="Arial"/>
                </a:rPr>
                <a:t>SOURCE</a:t>
              </a:r>
              <a:r>
                <a:rPr lang="es-ES_tradnl" sz="574" dirty="0">
                  <a:solidFill>
                    <a:srgbClr val="000000"/>
                  </a:solidFill>
                  <a:latin typeface="Arial"/>
                </a:rPr>
                <a:t>: </a:t>
              </a:r>
              <a:r>
                <a:rPr lang="es-ES_tradnl" sz="574" dirty="0" err="1">
                  <a:solidFill>
                    <a:srgbClr val="000000"/>
                  </a:solidFill>
                  <a:latin typeface="Arial"/>
                </a:rPr>
                <a:t>Source</a:t>
              </a:r>
              <a:endParaRPr lang="es-ES_tradnl" sz="574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28" name="ACET" hidden="1"/>
          <p:cNvGrpSpPr>
            <a:grpSpLocks/>
          </p:cNvGrpSpPr>
          <p:nvPr/>
        </p:nvGrpSpPr>
        <p:grpSpPr bwMode="auto">
          <a:xfrm>
            <a:off x="1605669" y="1331433"/>
            <a:ext cx="4713466" cy="336907"/>
            <a:chOff x="915" y="822"/>
            <a:chExt cx="2686" cy="208"/>
          </a:xfrm>
        </p:grpSpPr>
        <p:cxnSp>
          <p:nvCxnSpPr>
            <p:cNvPr id="29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0" name="AutoShape 250"/>
            <p:cNvSpPr>
              <a:spLocks noChangeArrowheads="1"/>
            </p:cNvSpPr>
            <p:nvPr/>
          </p:nvSpPr>
          <p:spPr bwMode="auto">
            <a:xfrm>
              <a:off x="915" y="822"/>
              <a:ext cx="2686" cy="2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s-ES_tradnl" sz="1034" b="1" dirty="0" err="1">
                  <a:solidFill>
                    <a:srgbClr val="000000"/>
                  </a:solidFill>
                  <a:latin typeface="Arial"/>
                </a:rPr>
                <a:t>Title</a:t>
              </a:r>
              <a:endParaRPr lang="es-ES_tradnl" sz="1034" b="1" dirty="0">
                <a:solidFill>
                  <a:srgbClr val="000000"/>
                </a:solidFill>
                <a:latin typeface="Arial"/>
              </a:endParaRPr>
            </a:p>
            <a:p>
              <a:r>
                <a:rPr lang="es-ES_tradnl" sz="1034" dirty="0" err="1">
                  <a:solidFill>
                    <a:srgbClr val="808080"/>
                  </a:solidFill>
                  <a:latin typeface="Arial"/>
                </a:rPr>
                <a:t>Unit</a:t>
              </a:r>
              <a:r>
                <a:rPr lang="es-ES_tradnl" sz="1034" dirty="0">
                  <a:solidFill>
                    <a:srgbClr val="808080"/>
                  </a:solidFill>
                  <a:latin typeface="Arial"/>
                </a:rPr>
                <a:t> of </a:t>
              </a:r>
              <a:r>
                <a:rPr lang="es-ES_tradnl" sz="1034" dirty="0" err="1">
                  <a:solidFill>
                    <a:srgbClr val="808080"/>
                  </a:solidFill>
                  <a:latin typeface="Arial"/>
                </a:rPr>
                <a:t>measure</a:t>
              </a:r>
              <a:endParaRPr lang="es-ES_tradnl" sz="1034" dirty="0">
                <a:solidFill>
                  <a:srgbClr val="808080"/>
                </a:solidFill>
                <a:latin typeface="Arial"/>
              </a:endParaRPr>
            </a:p>
          </p:txBody>
        </p:sp>
      </p:grpSp>
      <p:sp>
        <p:nvSpPr>
          <p:cNvPr id="33" name="1. On-page tracker" hidden="1"/>
          <p:cNvSpPr>
            <a:spLocks noChangeArrowheads="1"/>
          </p:cNvSpPr>
          <p:nvPr/>
        </p:nvSpPr>
        <p:spPr bwMode="auto">
          <a:xfrm>
            <a:off x="131616" y="27537"/>
            <a:ext cx="490519" cy="1235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s-ES_tradnl" sz="803" dirty="0" err="1">
                <a:solidFill>
                  <a:srgbClr val="808080"/>
                </a:solidFill>
                <a:latin typeface="Arial"/>
              </a:rPr>
              <a:t>TRACKER</a:t>
            </a:r>
            <a:endParaRPr lang="es-ES_tradnl" sz="803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34" name="3. Unit of measure" hidden="1"/>
          <p:cNvSpPr txBox="1">
            <a:spLocks noChangeArrowheads="1"/>
          </p:cNvSpPr>
          <p:nvPr/>
        </p:nvSpPr>
        <p:spPr bwMode="auto">
          <a:xfrm>
            <a:off x="131612" y="542620"/>
            <a:ext cx="9526957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s-ES_tradnl" sz="918" dirty="0" err="1">
                <a:solidFill>
                  <a:srgbClr val="808080"/>
                </a:solidFill>
                <a:latin typeface="Arial"/>
              </a:rPr>
              <a:t>Unit</a:t>
            </a:r>
            <a:r>
              <a:rPr lang="es-ES_tradnl" sz="918" dirty="0">
                <a:solidFill>
                  <a:srgbClr val="808080"/>
                </a:solidFill>
                <a:latin typeface="Arial"/>
              </a:rPr>
              <a:t> of </a:t>
            </a:r>
            <a:r>
              <a:rPr lang="es-ES_tradnl" sz="918" dirty="0" err="1">
                <a:solidFill>
                  <a:srgbClr val="808080"/>
                </a:solidFill>
                <a:latin typeface="Arial"/>
              </a:rPr>
              <a:t>measure</a:t>
            </a:r>
            <a:endParaRPr lang="es-ES_tradnl" sz="918" dirty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35" name="Slide Elements" hidden="1"/>
          <p:cNvGrpSpPr>
            <a:grpSpLocks/>
          </p:cNvGrpSpPr>
          <p:nvPr/>
        </p:nvGrpSpPr>
        <p:grpSpPr bwMode="auto">
          <a:xfrm>
            <a:off x="131615" y="6270044"/>
            <a:ext cx="9449744" cy="419515"/>
            <a:chOff x="75" y="3871"/>
            <a:chExt cx="5385" cy="259"/>
          </a:xfrm>
        </p:grpSpPr>
        <p:sp>
          <p:nvSpPr>
            <p:cNvPr id="36" name="4. Footnote"/>
            <p:cNvSpPr txBox="1">
              <a:spLocks noChangeArrowheads="1"/>
            </p:cNvSpPr>
            <p:nvPr/>
          </p:nvSpPr>
          <p:spPr bwMode="auto">
            <a:xfrm>
              <a:off x="75" y="3871"/>
              <a:ext cx="5385" cy="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s-ES_tradnl" sz="574" dirty="0">
                  <a:solidFill>
                    <a:srgbClr val="000000"/>
                  </a:solidFill>
                  <a:latin typeface="Arial"/>
                </a:rPr>
                <a:t>1 </a:t>
              </a:r>
              <a:r>
                <a:rPr lang="es-ES_tradnl" sz="574" dirty="0" err="1">
                  <a:solidFill>
                    <a:srgbClr val="000000"/>
                  </a:solidFill>
                  <a:latin typeface="Arial"/>
                </a:rPr>
                <a:t>Footnote</a:t>
              </a:r>
              <a:endParaRPr lang="es-ES_tradnl" sz="57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5. Source"/>
            <p:cNvSpPr>
              <a:spLocks noChangeArrowheads="1"/>
            </p:cNvSpPr>
            <p:nvPr/>
          </p:nvSpPr>
          <p:spPr bwMode="auto">
            <a:xfrm>
              <a:off x="75" y="4075"/>
              <a:ext cx="4323" cy="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349861" indent="-349861" defTabSz="513859">
                <a:tabLst>
                  <a:tab pos="351683" algn="l"/>
                </a:tabLst>
              </a:pPr>
              <a:r>
                <a:rPr lang="es-ES_tradnl" sz="574" dirty="0" err="1">
                  <a:solidFill>
                    <a:srgbClr val="000000"/>
                  </a:solidFill>
                  <a:latin typeface="Arial"/>
                </a:rPr>
                <a:t>SOURCE</a:t>
              </a:r>
              <a:r>
                <a:rPr lang="es-ES_tradnl" sz="574" dirty="0">
                  <a:solidFill>
                    <a:srgbClr val="000000"/>
                  </a:solidFill>
                  <a:latin typeface="Arial"/>
                </a:rPr>
                <a:t>: </a:t>
              </a:r>
              <a:r>
                <a:rPr lang="es-ES_tradnl" sz="574" dirty="0" err="1">
                  <a:solidFill>
                    <a:srgbClr val="000000"/>
                  </a:solidFill>
                  <a:latin typeface="Arial"/>
                </a:rPr>
                <a:t>Source</a:t>
              </a:r>
              <a:endParaRPr lang="es-ES_tradnl" sz="574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38" name="ACET" hidden="1"/>
          <p:cNvGrpSpPr>
            <a:grpSpLocks/>
          </p:cNvGrpSpPr>
          <p:nvPr/>
        </p:nvGrpSpPr>
        <p:grpSpPr bwMode="auto">
          <a:xfrm>
            <a:off x="1605669" y="1331433"/>
            <a:ext cx="4713466" cy="336907"/>
            <a:chOff x="915" y="822"/>
            <a:chExt cx="2686" cy="208"/>
          </a:xfrm>
        </p:grpSpPr>
        <p:cxnSp>
          <p:nvCxnSpPr>
            <p:cNvPr id="39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0" name="AutoShape 250"/>
            <p:cNvSpPr>
              <a:spLocks noChangeArrowheads="1"/>
            </p:cNvSpPr>
            <p:nvPr/>
          </p:nvSpPr>
          <p:spPr bwMode="auto">
            <a:xfrm>
              <a:off x="915" y="822"/>
              <a:ext cx="2686" cy="2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s-ES_tradnl" sz="1034" b="1" dirty="0" err="1">
                  <a:solidFill>
                    <a:srgbClr val="000000"/>
                  </a:solidFill>
                  <a:latin typeface="Arial"/>
                </a:rPr>
                <a:t>Title</a:t>
              </a:r>
              <a:endParaRPr lang="es-ES_tradnl" sz="1034" b="1" dirty="0">
                <a:solidFill>
                  <a:srgbClr val="000000"/>
                </a:solidFill>
                <a:latin typeface="Arial"/>
              </a:endParaRPr>
            </a:p>
            <a:p>
              <a:r>
                <a:rPr lang="es-ES_tradnl" sz="1034" dirty="0" err="1">
                  <a:solidFill>
                    <a:srgbClr val="808080"/>
                  </a:solidFill>
                  <a:latin typeface="Arial"/>
                </a:rPr>
                <a:t>Unit</a:t>
              </a:r>
              <a:r>
                <a:rPr lang="es-ES_tradnl" sz="1034" dirty="0">
                  <a:solidFill>
                    <a:srgbClr val="808080"/>
                  </a:solidFill>
                  <a:latin typeface="Arial"/>
                </a:rPr>
                <a:t> of </a:t>
              </a:r>
              <a:r>
                <a:rPr lang="es-ES_tradnl" sz="1034" dirty="0" err="1">
                  <a:solidFill>
                    <a:srgbClr val="808080"/>
                  </a:solidFill>
                  <a:latin typeface="Arial"/>
                </a:rPr>
                <a:t>measure</a:t>
              </a:r>
              <a:endParaRPr lang="es-ES_tradnl" sz="1034" dirty="0">
                <a:solidFill>
                  <a:srgbClr val="808080"/>
                </a:solidFill>
                <a:latin typeface="Arial"/>
              </a:endParaRPr>
            </a:p>
          </p:txBody>
        </p:sp>
      </p:grpSp>
      <p:sp>
        <p:nvSpPr>
          <p:cNvPr id="41" name="SlideLogoText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8481723" y="6600016"/>
            <a:ext cx="729367" cy="88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513859"/>
            <a:r>
              <a:rPr lang="es-ES_tradnl" sz="574" dirty="0">
                <a:solidFill>
                  <a:srgbClr val="000000"/>
                </a:solidFill>
                <a:latin typeface="Arial"/>
              </a:rPr>
              <a:t>McKinsey &amp; Company</a:t>
            </a:r>
          </a:p>
        </p:txBody>
      </p:sp>
      <p:sp>
        <p:nvSpPr>
          <p:cNvPr id="43" name="1. On-page tracker" hidden="1"/>
          <p:cNvSpPr>
            <a:spLocks noChangeArrowheads="1"/>
          </p:cNvSpPr>
          <p:nvPr userDrawn="1"/>
        </p:nvSpPr>
        <p:spPr bwMode="auto">
          <a:xfrm>
            <a:off x="131616" y="27537"/>
            <a:ext cx="490519" cy="1235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3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44" name="3. Unit of measure" hidden="1"/>
          <p:cNvSpPr txBox="1">
            <a:spLocks noChangeArrowheads="1"/>
          </p:cNvSpPr>
          <p:nvPr userDrawn="1"/>
        </p:nvSpPr>
        <p:spPr bwMode="auto">
          <a:xfrm>
            <a:off x="131612" y="542620"/>
            <a:ext cx="9526957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918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45" name="Slide Elements" hidden="1"/>
          <p:cNvGrpSpPr>
            <a:grpSpLocks/>
          </p:cNvGrpSpPr>
          <p:nvPr userDrawn="1"/>
        </p:nvGrpSpPr>
        <p:grpSpPr bwMode="auto">
          <a:xfrm>
            <a:off x="131615" y="6270044"/>
            <a:ext cx="9449744" cy="419515"/>
            <a:chOff x="75" y="3871"/>
            <a:chExt cx="5385" cy="259"/>
          </a:xfrm>
        </p:grpSpPr>
        <p:sp>
          <p:nvSpPr>
            <p:cNvPr id="46" name="4. Footnote"/>
            <p:cNvSpPr txBox="1">
              <a:spLocks noChangeArrowheads="1"/>
            </p:cNvSpPr>
            <p:nvPr/>
          </p:nvSpPr>
          <p:spPr bwMode="auto">
            <a:xfrm>
              <a:off x="75" y="3871"/>
              <a:ext cx="5385" cy="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574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47" name="5. Source"/>
            <p:cNvSpPr>
              <a:spLocks noChangeArrowheads="1"/>
            </p:cNvSpPr>
            <p:nvPr/>
          </p:nvSpPr>
          <p:spPr bwMode="auto">
            <a:xfrm>
              <a:off x="75" y="4075"/>
              <a:ext cx="4323" cy="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349861" indent="-349861" defTabSz="513859">
                <a:tabLst>
                  <a:tab pos="351683" algn="l"/>
                </a:tabLst>
              </a:pPr>
              <a:r>
                <a:rPr lang="en-US" sz="574" dirty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grpSp>
        <p:nvGrpSpPr>
          <p:cNvPr id="48" name="ACET" hidden="1"/>
          <p:cNvGrpSpPr>
            <a:grpSpLocks/>
          </p:cNvGrpSpPr>
          <p:nvPr userDrawn="1"/>
        </p:nvGrpSpPr>
        <p:grpSpPr bwMode="auto">
          <a:xfrm>
            <a:off x="1605669" y="1331433"/>
            <a:ext cx="4713466" cy="336907"/>
            <a:chOff x="915" y="822"/>
            <a:chExt cx="2686" cy="208"/>
          </a:xfrm>
        </p:grpSpPr>
        <p:cxnSp>
          <p:nvCxnSpPr>
            <p:cNvPr id="49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0" name="AutoShape 250"/>
            <p:cNvSpPr>
              <a:spLocks noChangeArrowheads="1"/>
            </p:cNvSpPr>
            <p:nvPr/>
          </p:nvSpPr>
          <p:spPr bwMode="auto">
            <a:xfrm>
              <a:off x="915" y="822"/>
              <a:ext cx="2686" cy="2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034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034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cxnSp>
        <p:nvCxnSpPr>
          <p:cNvPr id="52" name="Straight Connector 6"/>
          <p:cNvCxnSpPr/>
          <p:nvPr userDrawn="1"/>
        </p:nvCxnSpPr>
        <p:spPr>
          <a:xfrm>
            <a:off x="9217712" y="6315773"/>
            <a:ext cx="0" cy="327998"/>
          </a:xfrm>
          <a:prstGeom prst="line">
            <a:avLst/>
          </a:prstGeom>
          <a:noFill/>
          <a:ln w="3175">
            <a:solidFill>
              <a:srgbClr val="33779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4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9217712" y="6406125"/>
            <a:ext cx="688288" cy="365125"/>
          </a:xfrm>
          <a:prstGeom prst="rect">
            <a:avLst/>
          </a:prstGeom>
        </p:spPr>
        <p:txBody>
          <a:bodyPr/>
          <a:lstStyle>
            <a:lvl1pPr algn="ctr">
              <a:defRPr sz="1050" b="1">
                <a:solidFill>
                  <a:srgbClr val="25546D"/>
                </a:solidFill>
              </a:defRPr>
            </a:lvl1pPr>
          </a:lstStyle>
          <a:p>
            <a:fld id="{02F25750-4209-4357-A72F-45445C8044EF}" type="slidenum">
              <a:rPr lang="es-CO" smtClean="0"/>
              <a:pPr/>
              <a:t>‹Nº›</a:t>
            </a:fld>
            <a:endParaRPr lang="es-CO" dirty="0"/>
          </a:p>
        </p:txBody>
      </p:sp>
      <p:pic>
        <p:nvPicPr>
          <p:cNvPr id="53" name="Imagen 52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9087" y="6371180"/>
            <a:ext cx="660846" cy="462744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798617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002550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4" r:id="rId2"/>
    <p:sldLayoutId id="2147483667" r:id="rId3"/>
    <p:sldLayoutId id="2147483666" r:id="rId4"/>
    <p:sldLayoutId id="2147483662" r:id="rId5"/>
    <p:sldLayoutId id="2147483665" r:id="rId6"/>
    <p:sldLayoutId id="2147483668" r:id="rId7"/>
  </p:sldLayoutIdLst>
  <p:hf hdr="0" ftr="0" dt="0"/>
  <p:txStyles>
    <p:titleStyle>
      <a:lvl1pPr algn="l" defTabSz="513859" rtl="0" eaLnBrk="1" fontAlgn="base" hangingPunct="1">
        <a:spcBef>
          <a:spcPct val="0"/>
        </a:spcBef>
        <a:spcAft>
          <a:spcPct val="0"/>
        </a:spcAft>
        <a:tabLst>
          <a:tab pos="204997" algn="l"/>
        </a:tabLst>
        <a:defRPr sz="1091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513859" rtl="0" eaLnBrk="1" fontAlgn="base" hangingPunct="1">
        <a:spcBef>
          <a:spcPct val="0"/>
        </a:spcBef>
        <a:spcAft>
          <a:spcPct val="0"/>
        </a:spcAft>
        <a:defRPr sz="1091" b="1">
          <a:solidFill>
            <a:schemeClr val="tx2"/>
          </a:solidFill>
          <a:latin typeface="Arial" charset="0"/>
        </a:defRPr>
      </a:lvl2pPr>
      <a:lvl3pPr algn="l" defTabSz="513859" rtl="0" eaLnBrk="1" fontAlgn="base" hangingPunct="1">
        <a:spcBef>
          <a:spcPct val="0"/>
        </a:spcBef>
        <a:spcAft>
          <a:spcPct val="0"/>
        </a:spcAft>
        <a:defRPr sz="1091" b="1">
          <a:solidFill>
            <a:schemeClr val="tx2"/>
          </a:solidFill>
          <a:latin typeface="Arial" charset="0"/>
        </a:defRPr>
      </a:lvl3pPr>
      <a:lvl4pPr algn="l" defTabSz="513859" rtl="0" eaLnBrk="1" fontAlgn="base" hangingPunct="1">
        <a:spcBef>
          <a:spcPct val="0"/>
        </a:spcBef>
        <a:spcAft>
          <a:spcPct val="0"/>
        </a:spcAft>
        <a:defRPr sz="1091" b="1">
          <a:solidFill>
            <a:schemeClr val="tx2"/>
          </a:solidFill>
          <a:latin typeface="Arial" charset="0"/>
        </a:defRPr>
      </a:lvl4pPr>
      <a:lvl5pPr algn="l" defTabSz="513859" rtl="0" eaLnBrk="1" fontAlgn="base" hangingPunct="1">
        <a:spcBef>
          <a:spcPct val="0"/>
        </a:spcBef>
        <a:spcAft>
          <a:spcPct val="0"/>
        </a:spcAft>
        <a:defRPr sz="1091" b="1">
          <a:solidFill>
            <a:schemeClr val="tx2"/>
          </a:solidFill>
          <a:latin typeface="Arial" charset="0"/>
        </a:defRPr>
      </a:lvl5pPr>
      <a:lvl6pPr marL="262396" algn="l" defTabSz="513859" rtl="0" eaLnBrk="1" fontAlgn="base" hangingPunct="1">
        <a:spcBef>
          <a:spcPct val="0"/>
        </a:spcBef>
        <a:spcAft>
          <a:spcPct val="0"/>
        </a:spcAft>
        <a:defRPr sz="1091" b="1">
          <a:solidFill>
            <a:schemeClr val="tx2"/>
          </a:solidFill>
          <a:latin typeface="Arial" charset="0"/>
        </a:defRPr>
      </a:lvl6pPr>
      <a:lvl7pPr marL="524792" algn="l" defTabSz="513859" rtl="0" eaLnBrk="1" fontAlgn="base" hangingPunct="1">
        <a:spcBef>
          <a:spcPct val="0"/>
        </a:spcBef>
        <a:spcAft>
          <a:spcPct val="0"/>
        </a:spcAft>
        <a:defRPr sz="1091" b="1">
          <a:solidFill>
            <a:schemeClr val="tx2"/>
          </a:solidFill>
          <a:latin typeface="Arial" charset="0"/>
        </a:defRPr>
      </a:lvl7pPr>
      <a:lvl8pPr marL="787187" algn="l" defTabSz="513859" rtl="0" eaLnBrk="1" fontAlgn="base" hangingPunct="1">
        <a:spcBef>
          <a:spcPct val="0"/>
        </a:spcBef>
        <a:spcAft>
          <a:spcPct val="0"/>
        </a:spcAft>
        <a:defRPr sz="1091" b="1">
          <a:solidFill>
            <a:schemeClr val="tx2"/>
          </a:solidFill>
          <a:latin typeface="Arial" charset="0"/>
        </a:defRPr>
      </a:lvl8pPr>
      <a:lvl9pPr marL="1049583" algn="l" defTabSz="513859" rtl="0" eaLnBrk="1" fontAlgn="base" hangingPunct="1">
        <a:spcBef>
          <a:spcPct val="0"/>
        </a:spcBef>
        <a:spcAft>
          <a:spcPct val="0"/>
        </a:spcAft>
        <a:defRPr sz="1091" b="1">
          <a:solidFill>
            <a:schemeClr val="tx2"/>
          </a:solidFill>
          <a:latin typeface="Arial" charset="0"/>
        </a:defRPr>
      </a:lvl9pPr>
    </p:titleStyle>
    <p:bodyStyle>
      <a:lvl1pPr marL="0" indent="0" algn="l" defTabSz="51385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918">
          <a:solidFill>
            <a:schemeClr val="tx1"/>
          </a:solidFill>
          <a:latin typeface="+mn-lt"/>
          <a:ea typeface="+mn-ea"/>
          <a:cs typeface="+mn-cs"/>
        </a:defRPr>
      </a:lvl1pPr>
      <a:lvl2pPr marL="111154" indent="-110243" algn="l" defTabSz="51385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918">
          <a:solidFill>
            <a:schemeClr val="tx1"/>
          </a:solidFill>
          <a:latin typeface="+mn-lt"/>
        </a:defRPr>
      </a:lvl2pPr>
      <a:lvl3pPr marL="262396" indent="-150331" algn="l" defTabSz="51385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918">
          <a:solidFill>
            <a:schemeClr val="tx1"/>
          </a:solidFill>
          <a:latin typeface="+mn-lt"/>
        </a:defRPr>
      </a:lvl3pPr>
      <a:lvl4pPr marL="352595" indent="-89288" algn="l" defTabSz="51385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918">
          <a:solidFill>
            <a:schemeClr val="tx1"/>
          </a:solidFill>
          <a:latin typeface="+mn-lt"/>
        </a:defRPr>
      </a:lvl4pPr>
      <a:lvl5pPr marL="430329" indent="-74711" algn="l" defTabSz="51385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918">
          <a:solidFill>
            <a:schemeClr val="tx1"/>
          </a:solidFill>
          <a:latin typeface="+mn-lt"/>
        </a:defRPr>
      </a:lvl5pPr>
      <a:lvl6pPr marL="430329" indent="-74711" algn="l" defTabSz="51385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918">
          <a:solidFill>
            <a:schemeClr val="tx1"/>
          </a:solidFill>
          <a:latin typeface="+mn-lt"/>
        </a:defRPr>
      </a:lvl6pPr>
      <a:lvl7pPr marL="430329" indent="-74711" algn="l" defTabSz="51385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918">
          <a:solidFill>
            <a:schemeClr val="tx1"/>
          </a:solidFill>
          <a:latin typeface="+mn-lt"/>
        </a:defRPr>
      </a:lvl7pPr>
      <a:lvl8pPr marL="430329" indent="-74711" algn="l" defTabSz="51385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918">
          <a:solidFill>
            <a:schemeClr val="tx1"/>
          </a:solidFill>
          <a:latin typeface="+mn-lt"/>
        </a:defRPr>
      </a:lvl8pPr>
      <a:lvl9pPr marL="430329" indent="-74711" algn="l" defTabSz="51385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918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524792" rtl="0" eaLnBrk="1" latinLnBrk="0" hangingPunct="1">
        <a:defRPr sz="1034" kern="1200">
          <a:solidFill>
            <a:schemeClr val="tx1"/>
          </a:solidFill>
          <a:latin typeface="+mn-lt"/>
          <a:ea typeface="+mn-ea"/>
          <a:cs typeface="+mn-cs"/>
        </a:defRPr>
      </a:lvl1pPr>
      <a:lvl2pPr marL="262396" algn="l" defTabSz="524792" rtl="0" eaLnBrk="1" latinLnBrk="0" hangingPunct="1">
        <a:defRPr sz="1034" kern="1200">
          <a:solidFill>
            <a:schemeClr val="tx1"/>
          </a:solidFill>
          <a:latin typeface="+mn-lt"/>
          <a:ea typeface="+mn-ea"/>
          <a:cs typeface="+mn-cs"/>
        </a:defRPr>
      </a:lvl2pPr>
      <a:lvl3pPr marL="524792" algn="l" defTabSz="524792" rtl="0" eaLnBrk="1" latinLnBrk="0" hangingPunct="1">
        <a:defRPr sz="1034" kern="1200">
          <a:solidFill>
            <a:schemeClr val="tx1"/>
          </a:solidFill>
          <a:latin typeface="+mn-lt"/>
          <a:ea typeface="+mn-ea"/>
          <a:cs typeface="+mn-cs"/>
        </a:defRPr>
      </a:lvl3pPr>
      <a:lvl4pPr marL="787187" algn="l" defTabSz="524792" rtl="0" eaLnBrk="1" latinLnBrk="0" hangingPunct="1">
        <a:defRPr sz="1034" kern="1200">
          <a:solidFill>
            <a:schemeClr val="tx1"/>
          </a:solidFill>
          <a:latin typeface="+mn-lt"/>
          <a:ea typeface="+mn-ea"/>
          <a:cs typeface="+mn-cs"/>
        </a:defRPr>
      </a:lvl4pPr>
      <a:lvl5pPr marL="1049583" algn="l" defTabSz="524792" rtl="0" eaLnBrk="1" latinLnBrk="0" hangingPunct="1">
        <a:defRPr sz="1034" kern="1200">
          <a:solidFill>
            <a:schemeClr val="tx1"/>
          </a:solidFill>
          <a:latin typeface="+mn-lt"/>
          <a:ea typeface="+mn-ea"/>
          <a:cs typeface="+mn-cs"/>
        </a:defRPr>
      </a:lvl5pPr>
      <a:lvl6pPr marL="1311979" algn="l" defTabSz="524792" rtl="0" eaLnBrk="1" latinLnBrk="0" hangingPunct="1">
        <a:defRPr sz="1034" kern="1200">
          <a:solidFill>
            <a:schemeClr val="tx1"/>
          </a:solidFill>
          <a:latin typeface="+mn-lt"/>
          <a:ea typeface="+mn-ea"/>
          <a:cs typeface="+mn-cs"/>
        </a:defRPr>
      </a:lvl6pPr>
      <a:lvl7pPr marL="1574374" algn="l" defTabSz="524792" rtl="0" eaLnBrk="1" latinLnBrk="0" hangingPunct="1">
        <a:defRPr sz="1034" kern="1200">
          <a:solidFill>
            <a:schemeClr val="tx1"/>
          </a:solidFill>
          <a:latin typeface="+mn-lt"/>
          <a:ea typeface="+mn-ea"/>
          <a:cs typeface="+mn-cs"/>
        </a:defRPr>
      </a:lvl7pPr>
      <a:lvl8pPr marL="1836770" algn="l" defTabSz="524792" rtl="0" eaLnBrk="1" latinLnBrk="0" hangingPunct="1">
        <a:defRPr sz="1034" kern="1200">
          <a:solidFill>
            <a:schemeClr val="tx1"/>
          </a:solidFill>
          <a:latin typeface="+mn-lt"/>
          <a:ea typeface="+mn-ea"/>
          <a:cs typeface="+mn-cs"/>
        </a:defRPr>
      </a:lvl8pPr>
      <a:lvl9pPr marL="2099165" algn="l" defTabSz="524792" rtl="0" eaLnBrk="1" latinLnBrk="0" hangingPunct="1">
        <a:defRPr sz="103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9.xml"/><Relationship Id="rId7" Type="http://schemas.openxmlformats.org/officeDocument/2006/relationships/image" Target="../media/image7.emf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11.xml"/><Relationship Id="rId7" Type="http://schemas.openxmlformats.org/officeDocument/2006/relationships/image" Target="../media/image7.emf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s-CO" dirty="0"/>
              <a:t>Plan de compras y contratación - 2018</a:t>
            </a:r>
          </a:p>
        </p:txBody>
      </p:sp>
    </p:spTree>
    <p:extLst>
      <p:ext uri="{BB962C8B-B14F-4D97-AF65-F5344CB8AC3E}">
        <p14:creationId xmlns:p14="http://schemas.microsoft.com/office/powerpoint/2010/main" val="38422036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BBB2B8FE-88C4-4BA4-9C38-88558249350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8289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6" name="think-cell Slide" r:id="rId6" imgW="530" imgH="528" progId="TCLayout.ActiveDocument.1">
                  <p:embed/>
                </p:oleObj>
              </mc:Choice>
              <mc:Fallback>
                <p:oleObj name="think-cell Slide" r:id="rId6" imgW="530" imgH="528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BBB2B8FE-88C4-4BA4-9C38-8855824935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8289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D622889-900A-4E59-BE23-3ABE2F5FAC0A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3812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CO" sz="1428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8CFFF7-3FAA-408B-81DB-6FC3FBBA9B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398" y="96641"/>
            <a:ext cx="8793595" cy="628056"/>
          </a:xfrm>
        </p:spPr>
        <p:txBody>
          <a:bodyPr/>
          <a:lstStyle/>
          <a:p>
            <a:r>
              <a:rPr lang="es-CO" sz="2000" dirty="0"/>
              <a:t>Durante 2018 Cenit estima ejecutar compras y contratos por un valor estimado de $ 622 </a:t>
            </a:r>
            <a:r>
              <a:rPr lang="es-CO" sz="2000" dirty="0" err="1"/>
              <a:t>Mmcop</a:t>
            </a:r>
            <a:r>
              <a:rPr lang="es-CO" sz="2000" dirty="0"/>
              <a:t> </a:t>
            </a:r>
          </a:p>
        </p:txBody>
      </p:sp>
      <p:graphicFrame>
        <p:nvGraphicFramePr>
          <p:cNvPr id="44" name="Gráfico 43">
            <a:extLst>
              <a:ext uri="{FF2B5EF4-FFF2-40B4-BE49-F238E27FC236}">
                <a16:creationId xmlns:a16="http://schemas.microsoft.com/office/drawing/2014/main" id="{0A19B8D8-10D0-4D96-830F-25FCFAE5751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79095749"/>
              </p:ext>
            </p:extLst>
          </p:nvPr>
        </p:nvGraphicFramePr>
        <p:xfrm>
          <a:off x="1272210" y="1550504"/>
          <a:ext cx="7832034" cy="42141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4412522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BBB2B8FE-88C4-4BA4-9C38-88558249350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8289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0" name="think-cell Slide" r:id="rId6" imgW="530" imgH="528" progId="TCLayout.ActiveDocument.1">
                  <p:embed/>
                </p:oleObj>
              </mc:Choice>
              <mc:Fallback>
                <p:oleObj name="think-cell Slide" r:id="rId6" imgW="530" imgH="528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BBB2B8FE-88C4-4BA4-9C38-8855824935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8289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D622889-900A-4E59-BE23-3ABE2F5FAC0A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3812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CO" sz="1428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8CFFF7-3FAA-408B-81DB-6FC3FBBA9B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5675807"/>
            <a:ext cx="8793595" cy="628056"/>
          </a:xfrm>
        </p:spPr>
        <p:txBody>
          <a:bodyPr/>
          <a:lstStyle/>
          <a:p>
            <a:r>
              <a:rPr lang="es-CO" sz="2000" dirty="0"/>
              <a:t>El reto de CENIT en el 2018 está en suplir estas necesidades con una mayor integración con el mercado. 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479BA395-154B-4553-8BD3-810CE99F94C7}"/>
              </a:ext>
            </a:extLst>
          </p:cNvPr>
          <p:cNvSpPr txBox="1">
            <a:spLocks/>
          </p:cNvSpPr>
          <p:nvPr/>
        </p:nvSpPr>
        <p:spPr bwMode="auto">
          <a:xfrm>
            <a:off x="0" y="103268"/>
            <a:ext cx="8793595" cy="628056"/>
          </a:xfrm>
        </p:spPr>
        <p:txBody>
          <a:bodyPr/>
          <a:lstStyle>
            <a:lvl1pPr algn="l" defTabSz="513859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04997" algn="l"/>
              </a:tabLst>
              <a:defRPr sz="1091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513859" rtl="0" eaLnBrk="1" fontAlgn="base" hangingPunct="1">
              <a:spcBef>
                <a:spcPct val="0"/>
              </a:spcBef>
              <a:spcAft>
                <a:spcPct val="0"/>
              </a:spcAft>
              <a:defRPr sz="1091" b="1">
                <a:solidFill>
                  <a:schemeClr val="tx2"/>
                </a:solidFill>
                <a:latin typeface="Arial" charset="0"/>
              </a:defRPr>
            </a:lvl2pPr>
            <a:lvl3pPr algn="l" defTabSz="513859" rtl="0" eaLnBrk="1" fontAlgn="base" hangingPunct="1">
              <a:spcBef>
                <a:spcPct val="0"/>
              </a:spcBef>
              <a:spcAft>
                <a:spcPct val="0"/>
              </a:spcAft>
              <a:defRPr sz="1091" b="1">
                <a:solidFill>
                  <a:schemeClr val="tx2"/>
                </a:solidFill>
                <a:latin typeface="Arial" charset="0"/>
              </a:defRPr>
            </a:lvl3pPr>
            <a:lvl4pPr algn="l" defTabSz="513859" rtl="0" eaLnBrk="1" fontAlgn="base" hangingPunct="1">
              <a:spcBef>
                <a:spcPct val="0"/>
              </a:spcBef>
              <a:spcAft>
                <a:spcPct val="0"/>
              </a:spcAft>
              <a:defRPr sz="1091" b="1">
                <a:solidFill>
                  <a:schemeClr val="tx2"/>
                </a:solidFill>
                <a:latin typeface="Arial" charset="0"/>
              </a:defRPr>
            </a:lvl4pPr>
            <a:lvl5pPr algn="l" defTabSz="513859" rtl="0" eaLnBrk="1" fontAlgn="base" hangingPunct="1">
              <a:spcBef>
                <a:spcPct val="0"/>
              </a:spcBef>
              <a:spcAft>
                <a:spcPct val="0"/>
              </a:spcAft>
              <a:defRPr sz="1091" b="1">
                <a:solidFill>
                  <a:schemeClr val="tx2"/>
                </a:solidFill>
                <a:latin typeface="Arial" charset="0"/>
              </a:defRPr>
            </a:lvl5pPr>
            <a:lvl6pPr marL="262396" algn="l" defTabSz="513859" rtl="0" eaLnBrk="1" fontAlgn="base" hangingPunct="1">
              <a:spcBef>
                <a:spcPct val="0"/>
              </a:spcBef>
              <a:spcAft>
                <a:spcPct val="0"/>
              </a:spcAft>
              <a:defRPr sz="1091" b="1">
                <a:solidFill>
                  <a:schemeClr val="tx2"/>
                </a:solidFill>
                <a:latin typeface="Arial" charset="0"/>
              </a:defRPr>
            </a:lvl6pPr>
            <a:lvl7pPr marL="524792" algn="l" defTabSz="513859" rtl="0" eaLnBrk="1" fontAlgn="base" hangingPunct="1">
              <a:spcBef>
                <a:spcPct val="0"/>
              </a:spcBef>
              <a:spcAft>
                <a:spcPct val="0"/>
              </a:spcAft>
              <a:defRPr sz="1091" b="1">
                <a:solidFill>
                  <a:schemeClr val="tx2"/>
                </a:solidFill>
                <a:latin typeface="Arial" charset="0"/>
              </a:defRPr>
            </a:lvl7pPr>
            <a:lvl8pPr marL="787187" algn="l" defTabSz="513859" rtl="0" eaLnBrk="1" fontAlgn="base" hangingPunct="1">
              <a:spcBef>
                <a:spcPct val="0"/>
              </a:spcBef>
              <a:spcAft>
                <a:spcPct val="0"/>
              </a:spcAft>
              <a:defRPr sz="1091" b="1">
                <a:solidFill>
                  <a:schemeClr val="tx2"/>
                </a:solidFill>
                <a:latin typeface="Arial" charset="0"/>
              </a:defRPr>
            </a:lvl8pPr>
            <a:lvl9pPr marL="1049583" algn="l" defTabSz="513859" rtl="0" eaLnBrk="1" fontAlgn="base" hangingPunct="1">
              <a:spcBef>
                <a:spcPct val="0"/>
              </a:spcBef>
              <a:spcAft>
                <a:spcPct val="0"/>
              </a:spcAft>
              <a:defRPr sz="1091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s-CO" sz="2000" kern="0" dirty="0"/>
              <a:t>Más del 90% de lo que se estima comprar y contratar se encuentra en las siguientes familias</a:t>
            </a:r>
          </a:p>
        </p:txBody>
      </p:sp>
      <p:sp>
        <p:nvSpPr>
          <p:cNvPr id="3" name="Elipse 2">
            <a:extLst>
              <a:ext uri="{FF2B5EF4-FFF2-40B4-BE49-F238E27FC236}">
                <a16:creationId xmlns:a16="http://schemas.microsoft.com/office/drawing/2014/main" id="{19EB27B4-7125-425B-9C29-3C4144A764EC}"/>
              </a:ext>
            </a:extLst>
          </p:cNvPr>
          <p:cNvSpPr/>
          <p:nvPr/>
        </p:nvSpPr>
        <p:spPr>
          <a:xfrm>
            <a:off x="8394385" y="1696280"/>
            <a:ext cx="777766" cy="397565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000" dirty="0">
                <a:solidFill>
                  <a:schemeClr val="tx1"/>
                </a:solidFill>
              </a:rPr>
              <a:t>3,7%</a:t>
            </a:r>
          </a:p>
        </p:txBody>
      </p:sp>
      <p:sp>
        <p:nvSpPr>
          <p:cNvPr id="13" name="Elipse 12">
            <a:extLst>
              <a:ext uri="{FF2B5EF4-FFF2-40B4-BE49-F238E27FC236}">
                <a16:creationId xmlns:a16="http://schemas.microsoft.com/office/drawing/2014/main" id="{85FD5C38-B3A6-4297-B107-D8D1337921DC}"/>
              </a:ext>
            </a:extLst>
          </p:cNvPr>
          <p:cNvSpPr/>
          <p:nvPr/>
        </p:nvSpPr>
        <p:spPr>
          <a:xfrm>
            <a:off x="8394385" y="2208699"/>
            <a:ext cx="777766" cy="397565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000" dirty="0">
                <a:solidFill>
                  <a:schemeClr val="tx1"/>
                </a:solidFill>
              </a:rPr>
              <a:t>4,0%</a:t>
            </a:r>
          </a:p>
        </p:txBody>
      </p:sp>
      <p:graphicFrame>
        <p:nvGraphicFramePr>
          <p:cNvPr id="14" name="Gráfico 13">
            <a:extLst>
              <a:ext uri="{FF2B5EF4-FFF2-40B4-BE49-F238E27FC236}">
                <a16:creationId xmlns:a16="http://schemas.microsoft.com/office/drawing/2014/main" id="{52F7D968-9849-4825-B175-C925A2E83C6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30075643"/>
              </p:ext>
            </p:extLst>
          </p:nvPr>
        </p:nvGraphicFramePr>
        <p:xfrm>
          <a:off x="79516" y="1245705"/>
          <a:ext cx="8449038" cy="43202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5" name="Elipse 14">
            <a:extLst>
              <a:ext uri="{FF2B5EF4-FFF2-40B4-BE49-F238E27FC236}">
                <a16:creationId xmlns:a16="http://schemas.microsoft.com/office/drawing/2014/main" id="{ECD84E15-A500-483F-8B2C-79BBE6579CB9}"/>
              </a:ext>
            </a:extLst>
          </p:cNvPr>
          <p:cNvSpPr/>
          <p:nvPr/>
        </p:nvSpPr>
        <p:spPr>
          <a:xfrm>
            <a:off x="8394385" y="2721118"/>
            <a:ext cx="777766" cy="397565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000" dirty="0">
                <a:solidFill>
                  <a:schemeClr val="tx1"/>
                </a:solidFill>
              </a:rPr>
              <a:t>4,3%</a:t>
            </a:r>
          </a:p>
        </p:txBody>
      </p:sp>
      <p:sp>
        <p:nvSpPr>
          <p:cNvPr id="16" name="Elipse 15">
            <a:extLst>
              <a:ext uri="{FF2B5EF4-FFF2-40B4-BE49-F238E27FC236}">
                <a16:creationId xmlns:a16="http://schemas.microsoft.com/office/drawing/2014/main" id="{D515DE42-2382-4AF5-8312-BFD5EC4AE0FD}"/>
              </a:ext>
            </a:extLst>
          </p:cNvPr>
          <p:cNvSpPr/>
          <p:nvPr/>
        </p:nvSpPr>
        <p:spPr>
          <a:xfrm>
            <a:off x="8394385" y="3233537"/>
            <a:ext cx="777766" cy="397565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000" dirty="0">
                <a:solidFill>
                  <a:schemeClr val="tx1"/>
                </a:solidFill>
              </a:rPr>
              <a:t>7,8%</a:t>
            </a:r>
          </a:p>
        </p:txBody>
      </p:sp>
      <p:sp>
        <p:nvSpPr>
          <p:cNvPr id="17" name="Elipse 16">
            <a:extLst>
              <a:ext uri="{FF2B5EF4-FFF2-40B4-BE49-F238E27FC236}">
                <a16:creationId xmlns:a16="http://schemas.microsoft.com/office/drawing/2014/main" id="{93CD7E57-7CBA-47EA-B0F8-209F19197634}"/>
              </a:ext>
            </a:extLst>
          </p:cNvPr>
          <p:cNvSpPr/>
          <p:nvPr/>
        </p:nvSpPr>
        <p:spPr>
          <a:xfrm>
            <a:off x="8394385" y="3745956"/>
            <a:ext cx="777766" cy="397565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000" dirty="0">
                <a:solidFill>
                  <a:schemeClr val="tx1"/>
                </a:solidFill>
              </a:rPr>
              <a:t>18,7%</a:t>
            </a:r>
          </a:p>
        </p:txBody>
      </p:sp>
      <p:sp>
        <p:nvSpPr>
          <p:cNvPr id="18" name="Elipse 17">
            <a:extLst>
              <a:ext uri="{FF2B5EF4-FFF2-40B4-BE49-F238E27FC236}">
                <a16:creationId xmlns:a16="http://schemas.microsoft.com/office/drawing/2014/main" id="{A54EB0A9-C41F-4EBC-89A2-E538594BD20D}"/>
              </a:ext>
            </a:extLst>
          </p:cNvPr>
          <p:cNvSpPr/>
          <p:nvPr/>
        </p:nvSpPr>
        <p:spPr>
          <a:xfrm>
            <a:off x="8394385" y="4258375"/>
            <a:ext cx="777766" cy="397565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000" dirty="0">
                <a:solidFill>
                  <a:schemeClr val="tx1"/>
                </a:solidFill>
              </a:rPr>
              <a:t>24,9%</a:t>
            </a:r>
          </a:p>
        </p:txBody>
      </p:sp>
      <p:sp>
        <p:nvSpPr>
          <p:cNvPr id="19" name="Elipse 18">
            <a:extLst>
              <a:ext uri="{FF2B5EF4-FFF2-40B4-BE49-F238E27FC236}">
                <a16:creationId xmlns:a16="http://schemas.microsoft.com/office/drawing/2014/main" id="{FD4BE771-2777-44A4-BF16-FB04897586D9}"/>
              </a:ext>
            </a:extLst>
          </p:cNvPr>
          <p:cNvSpPr/>
          <p:nvPr/>
        </p:nvSpPr>
        <p:spPr>
          <a:xfrm>
            <a:off x="8394385" y="4770793"/>
            <a:ext cx="777766" cy="397565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000" dirty="0">
                <a:solidFill>
                  <a:schemeClr val="tx1"/>
                </a:solidFill>
              </a:rPr>
              <a:t>26,2%</a:t>
            </a:r>
          </a:p>
        </p:txBody>
      </p:sp>
    </p:spTree>
    <p:extLst>
      <p:ext uri="{BB962C8B-B14F-4D97-AF65-F5344CB8AC3E}">
        <p14:creationId xmlns:p14="http://schemas.microsoft.com/office/powerpoint/2010/main" val="17364509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NEWSLIDENUMBER" val="False"/>
  <p:tag name="PREVIOUSNAME" val="C:\Users\Mauro Martinez\AppData\Local\Microsoft\Windows\INetCache\Content.Outlook\03WUL18L\Contractuales_Final.pp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OSRCaySu2m8ZT69haTe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OSRCaySu2m8ZT69haTeg"/>
</p:tagLst>
</file>

<file path=ppt/theme/theme1.xml><?xml version="1.0" encoding="utf-8"?>
<a:theme xmlns:a="http://schemas.openxmlformats.org/drawingml/2006/main" name="Firm Format - Spanish">
  <a:themeElements>
    <a:clrScheme name="Custom 26">
      <a:dk1>
        <a:srgbClr val="000000"/>
      </a:dk1>
      <a:lt1>
        <a:srgbClr val="FFFFFF"/>
      </a:lt1>
      <a:dk2>
        <a:srgbClr val="234F67"/>
      </a:dk2>
      <a:lt2>
        <a:srgbClr val="FFFFFF"/>
      </a:lt2>
      <a:accent1>
        <a:srgbClr val="DCEBF4"/>
      </a:accent1>
      <a:accent2>
        <a:srgbClr val="A2CAE2"/>
      </a:accent2>
      <a:accent3>
        <a:srgbClr val="50A2A0"/>
      </a:accent3>
      <a:accent4>
        <a:srgbClr val="234F67"/>
      </a:accent4>
      <a:accent5>
        <a:srgbClr val="FF6600"/>
      </a:accent5>
      <a:accent6>
        <a:srgbClr val="808080"/>
      </a:accent6>
      <a:hlink>
        <a:srgbClr val="50A2A0"/>
      </a:hlink>
      <a:folHlink>
        <a:srgbClr val="234F6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Spanish" id="{8F8C8658-0900-4511-92F4-4F9D7035C792}" vid="{72D81AE0-FDC7-462D-BB9E-9C93A584C623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26">
    <a:dk1>
      <a:srgbClr val="000000"/>
    </a:dk1>
    <a:lt1>
      <a:srgbClr val="FFFFFF"/>
    </a:lt1>
    <a:dk2>
      <a:srgbClr val="234F67"/>
    </a:dk2>
    <a:lt2>
      <a:srgbClr val="FFFFFF"/>
    </a:lt2>
    <a:accent1>
      <a:srgbClr val="DCEBF4"/>
    </a:accent1>
    <a:accent2>
      <a:srgbClr val="A2CAE2"/>
    </a:accent2>
    <a:accent3>
      <a:srgbClr val="50A2A0"/>
    </a:accent3>
    <a:accent4>
      <a:srgbClr val="234F67"/>
    </a:accent4>
    <a:accent5>
      <a:srgbClr val="FF6600"/>
    </a:accent5>
    <a:accent6>
      <a:srgbClr val="808080"/>
    </a:accent6>
    <a:hlink>
      <a:srgbClr val="50A2A0"/>
    </a:hlink>
    <a:folHlink>
      <a:srgbClr val="234F67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Application xmlns="http://www.sap.com/cof/ao/powerpoint/application">
  <com.sap.ip.bi.pioneer>
    <Version>4</Version>
    <AAO_Revision>2.3.2.62482</AAO_Revision>
    <RefreshOnOpen>False</RefreshOnOpen>
    <PlanningModeSetToChangeMode>True</PlanningModeSetToChangeMode>
    <Cleaned>False</Cleaned>
    <ForcePromptOnInitialRefresh>False</ForcePromptOnInitialRefresh>
    <StorePromptsInDocument>True</StorePromptsInDocument>
    <MergeVariables>False</MergeVariables>
    <WorkingMode>Local</WorkingMode>
    <RefreshPlanningObjectsOnRefreshAll>True</RefreshPlanningObjectsOnRefreshAll>
    <Items/>
  </com.sap.ip.bi.pioneer>
</Application>
</file>

<file path=customXml/item2.xml><?xml version="1.0" encoding="utf-8"?>
<Application xmlns="http://www.sap.com/cof/powerpoint/application">
  <Version>2</Version>
  <Revision>2.3.2.62482</Revision>
</Application>
</file>

<file path=customXml/itemProps1.xml><?xml version="1.0" encoding="utf-8"?>
<ds:datastoreItem xmlns:ds="http://schemas.openxmlformats.org/officeDocument/2006/customXml" ds:itemID="{AC10B5AE-CAB8-4A33-B775-BC6DE9D806A6}">
  <ds:schemaRefs>
    <ds:schemaRef ds:uri="http://www.sap.com/cof/ao/powerpoint/application"/>
  </ds:schemaRefs>
</ds:datastoreItem>
</file>

<file path=customXml/itemProps2.xml><?xml version="1.0" encoding="utf-8"?>
<ds:datastoreItem xmlns:ds="http://schemas.openxmlformats.org/officeDocument/2006/customXml" ds:itemID="{AA717356-B4BC-4CB9-9024-F4A01141887D}">
  <ds:schemaRefs>
    <ds:schemaRef ds:uri="http://www.sap.com/cof/powerpoint/applic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28</TotalTime>
  <Words>84</Words>
  <Application>Microsoft Office PowerPoint</Application>
  <PresentationFormat>A4 (210 x 297 mm)</PresentationFormat>
  <Paragraphs>15</Paragraphs>
  <Slides>3</Slides>
  <Notes>2</Notes>
  <HiddenSlides>0</HiddenSlides>
  <MMClips>0</MMClips>
  <ScaleCrop>false</ScaleCrop>
  <HeadingPairs>
    <vt:vector size="8" baseType="variant">
      <vt:variant>
        <vt:lpstr>Fue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3</vt:i4>
      </vt:variant>
    </vt:vector>
  </HeadingPairs>
  <TitlesOfParts>
    <vt:vector size="8" baseType="lpstr">
      <vt:lpstr>Arial</vt:lpstr>
      <vt:lpstr>Calibri</vt:lpstr>
      <vt:lpstr>Courier New</vt:lpstr>
      <vt:lpstr>Firm Format - Spanish</vt:lpstr>
      <vt:lpstr>think-cell Slide</vt:lpstr>
      <vt:lpstr>Plan de compras y contratación - 2018</vt:lpstr>
      <vt:lpstr>Durante 2018 Cenit estima ejecutar compras y contratos por un valor estimado de $ 622 Mmcop </vt:lpstr>
      <vt:lpstr>El reto de CENIT en el 2018 está en suplir estas necesidades con una mayor integración con el mercado.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yecto  San Fernando - Monterrey</dc:title>
  <dc:creator>Carolina Rojas Moreno (CENIT)</dc:creator>
  <cp:lastModifiedBy>Elaine Soto (CENIT)</cp:lastModifiedBy>
  <cp:revision>174</cp:revision>
  <dcterms:created xsi:type="dcterms:W3CDTF">2016-11-01T22:17:42Z</dcterms:created>
  <dcterms:modified xsi:type="dcterms:W3CDTF">2018-02-01T16:44:12Z</dcterms:modified>
</cp:coreProperties>
</file>